
<file path=[Content_Types].xml><?xml version="1.0" encoding="utf-8"?>
<Types xmlns="http://schemas.openxmlformats.org/package/2006/content-types">
  <Default Extension="bin" ContentType="image/jpeg"/>
  <Default Extension="emf" ContentType="image/x-emf"/>
  <Default Extension="jpe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media/image5.bin" ContentType="image/png"/>
  <Override PartName="/ppt/tags/tag9.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1.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removePersonalInfoOnSave="1" saveSubsetFonts="1">
  <p:sldMasterIdLst>
    <p:sldMasterId id="2147484056" r:id="rId4"/>
  </p:sldMasterIdLst>
  <p:notesMasterIdLst>
    <p:notesMasterId r:id="rId28"/>
  </p:notesMasterIdLst>
  <p:sldIdLst>
    <p:sldId id="429" r:id="rId5"/>
    <p:sldId id="430" r:id="rId6"/>
    <p:sldId id="431" r:id="rId8"/>
    <p:sldId id="397" r:id="rId9"/>
    <p:sldId id="435" r:id="rId10"/>
    <p:sldId id="426" r:id="rId11"/>
    <p:sldId id="438" r:id="rId12"/>
    <p:sldId id="428" r:id="rId13"/>
    <p:sldId id="437" r:id="rId14"/>
    <p:sldId id="401" r:id="rId15"/>
    <p:sldId id="415" r:id="rId16"/>
    <p:sldId id="395" r:id="rId17"/>
    <p:sldId id="416" r:id="rId18"/>
    <p:sldId id="376" r:id="rId19"/>
    <p:sldId id="480" r:id="rId20"/>
    <p:sldId id="481" r:id="rId21"/>
    <p:sldId id="482" r:id="rId23"/>
    <p:sldId id="483" r:id="rId24"/>
    <p:sldId id="433" r:id="rId25"/>
    <p:sldId id="411" r:id="rId26"/>
    <p:sldId id="434" r:id="rId27"/>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ront Covers" id="{F9CFC184-155B-E049-91DD-657CF176FCB1}">
          <p14:sldIdLst>
            <p14:sldId id="429"/>
            <p14:sldId id="430"/>
            <p14:sldId id="420"/>
          </p14:sldIdLst>
        </p14:section>
        <p14:section name="Content pages" id="{7E28E96D-50B7-3247-AD53-91BDC15BF350}">
          <p14:sldIdLst>
            <p14:sldId id="431"/>
            <p14:sldId id="397"/>
            <p14:sldId id="435"/>
            <p14:sldId id="426"/>
            <p14:sldId id="438"/>
            <p14:sldId id="428"/>
            <p14:sldId id="437"/>
            <p14:sldId id="401"/>
            <p14:sldId id="415"/>
            <p14:sldId id="395"/>
            <p14:sldId id="416"/>
            <p14:sldId id="376"/>
            <p14:sldId id="480"/>
            <p14:sldId id="481"/>
            <p14:sldId id="427"/>
            <p14:sldId id="482"/>
            <p14:sldId id="483"/>
          </p14:sldIdLst>
        </p14:section>
        <p14:section name="Knowledge Check" id="{D7929D25-0A18-4360-B7C3-7D2BFCA475BE}">
          <p14:sldIdLst>
            <p14:sldId id="433"/>
            <p14:sldId id="411"/>
            <p14:sldId id="43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BF27DC0-8D22-4A35-A9A2-ED7EF7BD2194}" v="1" dt="2022-06-15T06:07:12.744"/>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9" autoAdjust="0"/>
    <p:restoredTop sz="85008" autoAdjust="0"/>
  </p:normalViewPr>
  <p:slideViewPr>
    <p:cSldViewPr snapToGrid="0">
      <p:cViewPr varScale="1">
        <p:scale>
          <a:sx n="136" d="100"/>
          <a:sy n="136" d="100"/>
        </p:scale>
        <p:origin x="1192" y="96"/>
      </p:cViewPr>
      <p:guideLst/>
    </p:cSldViewPr>
  </p:slideViewPr>
  <p:outlineViewPr>
    <p:cViewPr>
      <p:scale>
        <a:sx n="33" d="100"/>
        <a:sy n="33" d="100"/>
      </p:scale>
      <p:origin x="0" y="-33744"/>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9.xml" Id="rId13" /><Relationship Type="http://schemas.openxmlformats.org/officeDocument/2006/relationships/slide" Target="slides/slide14.xml" Id="rId18" /><Relationship Type="http://schemas.openxmlformats.org/officeDocument/2006/relationships/slide" Target="slides/slide22.xml" Id="rId26" /><Relationship Type="http://schemas.openxmlformats.org/officeDocument/2006/relationships/customXml" Target="../customXml/item3.xml" Id="rId3" /><Relationship Type="http://schemas.openxmlformats.org/officeDocument/2006/relationships/slide" Target="slides/slide17.xml" Id="rId21" /><Relationship Type="http://schemas.microsoft.com/office/2015/10/relationships/revisionInfo" Target="revisionInfo.xml" Id="rId34" /><Relationship Type="http://schemas.openxmlformats.org/officeDocument/2006/relationships/slide" Target="slides/slide8.xml" Id="rId12" /><Relationship Type="http://schemas.openxmlformats.org/officeDocument/2006/relationships/slide" Target="slides/slide13.xml" Id="rId17" /><Relationship Type="http://schemas.openxmlformats.org/officeDocument/2006/relationships/slide" Target="slides/slide21.xml" Id="rId25" /><Relationship Type="http://schemas.openxmlformats.org/officeDocument/2006/relationships/tableStyles" Target="tableStyles.xml" Id="rId33" /><Relationship Type="http://schemas.openxmlformats.org/officeDocument/2006/relationships/customXml" Target="../customXml/item2.xml" Id="rId2" /><Relationship Type="http://schemas.openxmlformats.org/officeDocument/2006/relationships/slide" Target="slides/slide12.xml" Id="rId16" /><Relationship Type="http://schemas.openxmlformats.org/officeDocument/2006/relationships/slide" Target="slides/slide16.xml" Id="rId20" /><Relationship Type="http://schemas.openxmlformats.org/officeDocument/2006/relationships/tags" Target="tags/tag1.xml" Id="rId29" /><Relationship Type="http://schemas.openxmlformats.org/officeDocument/2006/relationships/customXml" Target="../customXml/item1.xml" Id="rId1" /><Relationship Type="http://schemas.openxmlformats.org/officeDocument/2006/relationships/slide" Target="slides/slide2.xml" Id="rId6" /><Relationship Type="http://schemas.openxmlformats.org/officeDocument/2006/relationships/slide" Target="slides/slide7.xml" Id="rId11" /><Relationship Type="http://schemas.openxmlformats.org/officeDocument/2006/relationships/slide" Target="slides/slide20.xml" Id="rId24" /><Relationship Type="http://schemas.openxmlformats.org/officeDocument/2006/relationships/theme" Target="theme/theme1.xml" Id="rId32" /><Relationship Type="http://schemas.openxmlformats.org/officeDocument/2006/relationships/slide" Target="slides/slide1.xml" Id="rId5" /><Relationship Type="http://schemas.openxmlformats.org/officeDocument/2006/relationships/slide" Target="slides/slide11.xml" Id="rId15" /><Relationship Type="http://schemas.openxmlformats.org/officeDocument/2006/relationships/slide" Target="slides/slide19.xml" Id="rId23" /><Relationship Type="http://schemas.openxmlformats.org/officeDocument/2006/relationships/notesMaster" Target="notesMasters/notesMaster1.xml" Id="rId28" /><Relationship Type="http://schemas.openxmlformats.org/officeDocument/2006/relationships/slide" Target="slides/slide6.xml" Id="rId10" /><Relationship Type="http://schemas.openxmlformats.org/officeDocument/2006/relationships/slide" Target="slides/slide15.xml" Id="rId19" /><Relationship Type="http://schemas.openxmlformats.org/officeDocument/2006/relationships/viewProps" Target="viewProps.xml" Id="rId31" /><Relationship Type="http://schemas.openxmlformats.org/officeDocument/2006/relationships/slideMaster" Target="slideMasters/slideMaster1.xml" Id="rId4" /><Relationship Type="http://schemas.openxmlformats.org/officeDocument/2006/relationships/slide" Target="slides/slide5.xml" Id="rId9" /><Relationship Type="http://schemas.openxmlformats.org/officeDocument/2006/relationships/slide" Target="slides/slide10.xml" Id="rId14" /><Relationship Type="http://schemas.openxmlformats.org/officeDocument/2006/relationships/slide" Target="slides/slide23.xml" Id="rId27" /><Relationship Type="http://schemas.openxmlformats.org/officeDocument/2006/relationships/presProps" Target="presProps.xml" Id="rId30" /><Relationship Type="http://schemas.microsoft.com/office/2018/10/relationships/authors" Target="authors.xml" Id="rId35" /><Relationship Type="http://schemas.openxmlformats.org/officeDocument/2006/relationships/slide" Target="slides/slide4.xml" Id="rId8" /></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504C40A-02AC-442E-926B-C1CCBD16D4ED}" type="doc">
      <dgm:prSet loTypeId="urn:microsoft.com/office/officeart/2005/8/layout/list1" loCatId="list" qsTypeId="urn:microsoft.com/office/officeart/2005/8/quickstyle/simple1" qsCatId="simple" csTypeId="urn:microsoft.com/office/officeart/2005/8/colors/accent1_2" csCatId="accent1" phldr="0"/>
      <dgm:spPr/>
      <dgm:t>
        <a:bodyPr/>
        <a:lstStyle/>
        <a:p>
          <a:endParaRPr lang="en-US"/>
        </a:p>
      </dgm:t>
    </dgm:pt>
    <dgm:pt modelId="{19828F84-1379-4D99-879D-9A8763704C2B}">
      <dgm:prSet phldrT="[Text]" phldr="1"/>
      <dgm:spPr/>
      <dgm:t>
        <a:bodyPr/>
        <a:lstStyle/>
        <a:p>
          <a:endParaRPr lang="en-US" dirty="0"/>
        </a:p>
      </dgm:t>
    </dgm:pt>
    <dgm:pt modelId="{DEA2F1F3-E98F-4947-8D7B-5F0584ECF4B9}" type="parTrans" cxnId="{8F7811E9-6030-45DB-812A-5FB5FA4FCDE4}">
      <dgm:prSet/>
      <dgm:spPr/>
      <dgm:t>
        <a:bodyPr/>
        <a:lstStyle/>
        <a:p>
          <a:endParaRPr lang="en-US"/>
        </a:p>
      </dgm:t>
    </dgm:pt>
    <dgm:pt modelId="{AB9A1C57-A7C1-42A8-9BDB-4363B83ECD16}" type="sibTrans" cxnId="{8F7811E9-6030-45DB-812A-5FB5FA4FCDE4}">
      <dgm:prSet/>
      <dgm:spPr/>
      <dgm:t>
        <a:bodyPr/>
        <a:lstStyle/>
        <a:p>
          <a:endParaRPr lang="en-US"/>
        </a:p>
      </dgm:t>
    </dgm:pt>
    <dgm:pt modelId="{C4D3B72E-EE9F-4126-A8E6-94E7D37BCFD1}">
      <dgm:prSet phldrT="[Text]" phldr="1"/>
      <dgm:spPr/>
      <dgm:t>
        <a:bodyPr/>
        <a:lstStyle/>
        <a:p>
          <a:endParaRPr lang="en-US"/>
        </a:p>
      </dgm:t>
    </dgm:pt>
    <dgm:pt modelId="{FD242D2B-8B84-4747-9267-39BFDB9EAC3B}" type="parTrans" cxnId="{FA27AAB7-6975-4D7A-AACE-660B1EED5D92}">
      <dgm:prSet/>
      <dgm:spPr/>
      <dgm:t>
        <a:bodyPr/>
        <a:lstStyle/>
        <a:p>
          <a:endParaRPr lang="en-US"/>
        </a:p>
      </dgm:t>
    </dgm:pt>
    <dgm:pt modelId="{4E1127D2-A93D-4F85-B576-8564AA79386E}" type="sibTrans" cxnId="{FA27AAB7-6975-4D7A-AACE-660B1EED5D92}">
      <dgm:prSet/>
      <dgm:spPr/>
      <dgm:t>
        <a:bodyPr/>
        <a:lstStyle/>
        <a:p>
          <a:endParaRPr lang="en-US"/>
        </a:p>
      </dgm:t>
    </dgm:pt>
    <dgm:pt modelId="{0B07996B-FF50-47E4-9BEF-EAC04A7B712A}">
      <dgm:prSet phldrT="[Text]" phldr="1"/>
      <dgm:spPr/>
      <dgm:t>
        <a:bodyPr/>
        <a:lstStyle/>
        <a:p>
          <a:endParaRPr lang="en-US"/>
        </a:p>
      </dgm:t>
    </dgm:pt>
    <dgm:pt modelId="{BBB2C3AB-3C9B-40DE-A541-97B7164E2F3B}" type="parTrans" cxnId="{1B4339AE-510B-46E6-95D6-8BD59BA17492}">
      <dgm:prSet/>
      <dgm:spPr/>
      <dgm:t>
        <a:bodyPr/>
        <a:lstStyle/>
        <a:p>
          <a:endParaRPr lang="en-US"/>
        </a:p>
      </dgm:t>
    </dgm:pt>
    <dgm:pt modelId="{3595BE90-834D-40ED-8BBD-CF8EAE8A4F7D}" type="sibTrans" cxnId="{1B4339AE-510B-46E6-95D6-8BD59BA17492}">
      <dgm:prSet/>
      <dgm:spPr/>
      <dgm:t>
        <a:bodyPr/>
        <a:lstStyle/>
        <a:p>
          <a:endParaRPr lang="en-US"/>
        </a:p>
      </dgm:t>
    </dgm:pt>
    <dgm:pt modelId="{2A02C22B-3862-46B4-AC88-56779F1C256D}" type="pres">
      <dgm:prSet presAssocID="{1504C40A-02AC-442E-926B-C1CCBD16D4ED}" presName="linear" presStyleCnt="0">
        <dgm:presLayoutVars>
          <dgm:dir/>
          <dgm:animLvl val="lvl"/>
          <dgm:resizeHandles val="exact"/>
        </dgm:presLayoutVars>
      </dgm:prSet>
      <dgm:spPr/>
    </dgm:pt>
    <dgm:pt modelId="{ABF6A67D-3565-4CFE-A3A9-D453C9BF82DE}" type="pres">
      <dgm:prSet presAssocID="{19828F84-1379-4D99-879D-9A8763704C2B}" presName="parentLin" presStyleCnt="0"/>
      <dgm:spPr/>
    </dgm:pt>
    <dgm:pt modelId="{C1D1C60F-84E9-4721-B9AC-F927045248AA}" type="pres">
      <dgm:prSet presAssocID="{19828F84-1379-4D99-879D-9A8763704C2B}" presName="parentLeftMargin" presStyleLbl="node1" presStyleIdx="0" presStyleCnt="3"/>
      <dgm:spPr/>
    </dgm:pt>
    <dgm:pt modelId="{9ABF26A1-E35D-40CE-9C6A-6D9293AC9DE6}" type="pres">
      <dgm:prSet presAssocID="{19828F84-1379-4D99-879D-9A8763704C2B}" presName="parentText" presStyleLbl="node1" presStyleIdx="0" presStyleCnt="3">
        <dgm:presLayoutVars>
          <dgm:chMax val="0"/>
          <dgm:bulletEnabled val="1"/>
        </dgm:presLayoutVars>
      </dgm:prSet>
      <dgm:spPr/>
    </dgm:pt>
    <dgm:pt modelId="{56414D47-7877-4766-B0CD-3EDA254BAC46}" type="pres">
      <dgm:prSet presAssocID="{19828F84-1379-4D99-879D-9A8763704C2B}" presName="negativeSpace" presStyleCnt="0"/>
      <dgm:spPr/>
    </dgm:pt>
    <dgm:pt modelId="{5D58313F-9DE1-4E96-A788-2DBC72FED5EA}" type="pres">
      <dgm:prSet presAssocID="{19828F84-1379-4D99-879D-9A8763704C2B}" presName="childText" presStyleLbl="conFgAcc1" presStyleIdx="0" presStyleCnt="3">
        <dgm:presLayoutVars>
          <dgm:bulletEnabled val="1"/>
        </dgm:presLayoutVars>
      </dgm:prSet>
      <dgm:spPr/>
    </dgm:pt>
    <dgm:pt modelId="{88A9F856-8F21-4E7F-8D0F-DB5C2200F04D}" type="pres">
      <dgm:prSet presAssocID="{AB9A1C57-A7C1-42A8-9BDB-4363B83ECD16}" presName="spaceBetweenRectangles" presStyleCnt="0"/>
      <dgm:spPr/>
    </dgm:pt>
    <dgm:pt modelId="{0969E7A1-9DCA-45F5-81F1-1FA7D190F4CC}" type="pres">
      <dgm:prSet presAssocID="{C4D3B72E-EE9F-4126-A8E6-94E7D37BCFD1}" presName="parentLin" presStyleCnt="0"/>
      <dgm:spPr/>
    </dgm:pt>
    <dgm:pt modelId="{952E34DB-6AE9-4A96-8DD2-9DB32705454C}" type="pres">
      <dgm:prSet presAssocID="{C4D3B72E-EE9F-4126-A8E6-94E7D37BCFD1}" presName="parentLeftMargin" presStyleLbl="node1" presStyleIdx="0" presStyleCnt="3"/>
      <dgm:spPr/>
    </dgm:pt>
    <dgm:pt modelId="{9F7B2DF3-2C7C-490E-B6A4-FC8E9C8E88C9}" type="pres">
      <dgm:prSet presAssocID="{C4D3B72E-EE9F-4126-A8E6-94E7D37BCFD1}" presName="parentText" presStyleLbl="node1" presStyleIdx="1" presStyleCnt="3">
        <dgm:presLayoutVars>
          <dgm:chMax val="0"/>
          <dgm:bulletEnabled val="1"/>
        </dgm:presLayoutVars>
      </dgm:prSet>
      <dgm:spPr/>
    </dgm:pt>
    <dgm:pt modelId="{2930D6F8-6650-4483-A11E-E12C2299D598}" type="pres">
      <dgm:prSet presAssocID="{C4D3B72E-EE9F-4126-A8E6-94E7D37BCFD1}" presName="negativeSpace" presStyleCnt="0"/>
      <dgm:spPr/>
    </dgm:pt>
    <dgm:pt modelId="{1DA964AC-4A55-4A27-8D2A-96D58EBA493A}" type="pres">
      <dgm:prSet presAssocID="{C4D3B72E-EE9F-4126-A8E6-94E7D37BCFD1}" presName="childText" presStyleLbl="conFgAcc1" presStyleIdx="1" presStyleCnt="3">
        <dgm:presLayoutVars>
          <dgm:bulletEnabled val="1"/>
        </dgm:presLayoutVars>
      </dgm:prSet>
      <dgm:spPr/>
    </dgm:pt>
    <dgm:pt modelId="{77CFBFAF-51CB-4471-B86A-E11BD5767237}" type="pres">
      <dgm:prSet presAssocID="{4E1127D2-A93D-4F85-B576-8564AA79386E}" presName="spaceBetweenRectangles" presStyleCnt="0"/>
      <dgm:spPr/>
    </dgm:pt>
    <dgm:pt modelId="{AE143D15-17DB-423F-BF51-E9642466BC46}" type="pres">
      <dgm:prSet presAssocID="{0B07996B-FF50-47E4-9BEF-EAC04A7B712A}" presName="parentLin" presStyleCnt="0"/>
      <dgm:spPr/>
    </dgm:pt>
    <dgm:pt modelId="{552DD646-E6AC-4E8D-B29D-1613B56CCC57}" type="pres">
      <dgm:prSet presAssocID="{0B07996B-FF50-47E4-9BEF-EAC04A7B712A}" presName="parentLeftMargin" presStyleLbl="node1" presStyleIdx="1" presStyleCnt="3"/>
      <dgm:spPr/>
    </dgm:pt>
    <dgm:pt modelId="{CC44156B-E35B-4AA6-BAAD-A093BF798483}" type="pres">
      <dgm:prSet presAssocID="{0B07996B-FF50-47E4-9BEF-EAC04A7B712A}" presName="parentText" presStyleLbl="node1" presStyleIdx="2" presStyleCnt="3">
        <dgm:presLayoutVars>
          <dgm:chMax val="0"/>
          <dgm:bulletEnabled val="1"/>
        </dgm:presLayoutVars>
      </dgm:prSet>
      <dgm:spPr/>
    </dgm:pt>
    <dgm:pt modelId="{7BB38531-63C3-4F8A-A4FE-B55493C61CD3}" type="pres">
      <dgm:prSet presAssocID="{0B07996B-FF50-47E4-9BEF-EAC04A7B712A}" presName="negativeSpace" presStyleCnt="0"/>
      <dgm:spPr/>
    </dgm:pt>
    <dgm:pt modelId="{28C15B55-83BE-4F22-AB61-34F84B57745B}" type="pres">
      <dgm:prSet presAssocID="{0B07996B-FF50-47E4-9BEF-EAC04A7B712A}" presName="childText" presStyleLbl="conFgAcc1" presStyleIdx="2" presStyleCnt="3">
        <dgm:presLayoutVars>
          <dgm:bulletEnabled val="1"/>
        </dgm:presLayoutVars>
      </dgm:prSet>
      <dgm:spPr/>
    </dgm:pt>
  </dgm:ptLst>
  <dgm:cxnLst>
    <dgm:cxn modelId="{2D28FD10-DF01-4997-AD2B-B4F658E5840A}" type="presOf" srcId="{C4D3B72E-EE9F-4126-A8E6-94E7D37BCFD1}" destId="{952E34DB-6AE9-4A96-8DD2-9DB32705454C}" srcOrd="0" destOrd="0" presId="urn:microsoft.com/office/officeart/2005/8/layout/list1"/>
    <dgm:cxn modelId="{E7ADF721-BD1C-4DEB-9DE2-635EA2E3CF2A}" type="presOf" srcId="{C4D3B72E-EE9F-4126-A8E6-94E7D37BCFD1}" destId="{9F7B2DF3-2C7C-490E-B6A4-FC8E9C8E88C9}" srcOrd="1" destOrd="0" presId="urn:microsoft.com/office/officeart/2005/8/layout/list1"/>
    <dgm:cxn modelId="{594F9E4D-4806-4150-BCF0-58E6DC387F6C}" type="presOf" srcId="{19828F84-1379-4D99-879D-9A8763704C2B}" destId="{9ABF26A1-E35D-40CE-9C6A-6D9293AC9DE6}" srcOrd="1" destOrd="0" presId="urn:microsoft.com/office/officeart/2005/8/layout/list1"/>
    <dgm:cxn modelId="{FF1E207A-AEC9-4E3F-AA85-BF2F1B8B5808}" type="presOf" srcId="{1504C40A-02AC-442E-926B-C1CCBD16D4ED}" destId="{2A02C22B-3862-46B4-AC88-56779F1C256D}" srcOrd="0" destOrd="0" presId="urn:microsoft.com/office/officeart/2005/8/layout/list1"/>
    <dgm:cxn modelId="{DFB5825A-EB26-4CBF-AE62-B14B80BD9619}" type="presOf" srcId="{0B07996B-FF50-47E4-9BEF-EAC04A7B712A}" destId="{CC44156B-E35B-4AA6-BAAD-A093BF798483}" srcOrd="1" destOrd="0" presId="urn:microsoft.com/office/officeart/2005/8/layout/list1"/>
    <dgm:cxn modelId="{4A09D6A5-AD7B-4183-A95D-86C3248222DC}" type="presOf" srcId="{0B07996B-FF50-47E4-9BEF-EAC04A7B712A}" destId="{552DD646-E6AC-4E8D-B29D-1613B56CCC57}" srcOrd="0" destOrd="0" presId="urn:microsoft.com/office/officeart/2005/8/layout/list1"/>
    <dgm:cxn modelId="{1B4339AE-510B-46E6-95D6-8BD59BA17492}" srcId="{1504C40A-02AC-442E-926B-C1CCBD16D4ED}" destId="{0B07996B-FF50-47E4-9BEF-EAC04A7B712A}" srcOrd="2" destOrd="0" parTransId="{BBB2C3AB-3C9B-40DE-A541-97B7164E2F3B}" sibTransId="{3595BE90-834D-40ED-8BBD-CF8EAE8A4F7D}"/>
    <dgm:cxn modelId="{FA27AAB7-6975-4D7A-AACE-660B1EED5D92}" srcId="{1504C40A-02AC-442E-926B-C1CCBD16D4ED}" destId="{C4D3B72E-EE9F-4126-A8E6-94E7D37BCFD1}" srcOrd="1" destOrd="0" parTransId="{FD242D2B-8B84-4747-9267-39BFDB9EAC3B}" sibTransId="{4E1127D2-A93D-4F85-B576-8564AA79386E}"/>
    <dgm:cxn modelId="{DD0BB6CF-ED6F-4F0B-BFBE-67CBFC29CC24}" type="presOf" srcId="{19828F84-1379-4D99-879D-9A8763704C2B}" destId="{C1D1C60F-84E9-4721-B9AC-F927045248AA}" srcOrd="0" destOrd="0" presId="urn:microsoft.com/office/officeart/2005/8/layout/list1"/>
    <dgm:cxn modelId="{8F7811E9-6030-45DB-812A-5FB5FA4FCDE4}" srcId="{1504C40A-02AC-442E-926B-C1CCBD16D4ED}" destId="{19828F84-1379-4D99-879D-9A8763704C2B}" srcOrd="0" destOrd="0" parTransId="{DEA2F1F3-E98F-4947-8D7B-5F0584ECF4B9}" sibTransId="{AB9A1C57-A7C1-42A8-9BDB-4363B83ECD16}"/>
    <dgm:cxn modelId="{E28DAA17-B2B4-40E7-B504-43157FE85346}" type="presParOf" srcId="{2A02C22B-3862-46B4-AC88-56779F1C256D}" destId="{ABF6A67D-3565-4CFE-A3A9-D453C9BF82DE}" srcOrd="0" destOrd="0" presId="urn:microsoft.com/office/officeart/2005/8/layout/list1"/>
    <dgm:cxn modelId="{82EF835E-A189-427A-997A-65E174C57A16}" type="presParOf" srcId="{ABF6A67D-3565-4CFE-A3A9-D453C9BF82DE}" destId="{C1D1C60F-84E9-4721-B9AC-F927045248AA}" srcOrd="0" destOrd="0" presId="urn:microsoft.com/office/officeart/2005/8/layout/list1"/>
    <dgm:cxn modelId="{630A3A5A-ABF8-4CA2-9213-7D521BA2260C}" type="presParOf" srcId="{ABF6A67D-3565-4CFE-A3A9-D453C9BF82DE}" destId="{9ABF26A1-E35D-40CE-9C6A-6D9293AC9DE6}" srcOrd="1" destOrd="0" presId="urn:microsoft.com/office/officeart/2005/8/layout/list1"/>
    <dgm:cxn modelId="{80596FB0-CB0A-46EB-89BB-BB4FBAFB353C}" type="presParOf" srcId="{2A02C22B-3862-46B4-AC88-56779F1C256D}" destId="{56414D47-7877-4766-B0CD-3EDA254BAC46}" srcOrd="1" destOrd="0" presId="urn:microsoft.com/office/officeart/2005/8/layout/list1"/>
    <dgm:cxn modelId="{7ADD061E-66BC-4C87-AAAA-A14C6BC4E3CA}" type="presParOf" srcId="{2A02C22B-3862-46B4-AC88-56779F1C256D}" destId="{5D58313F-9DE1-4E96-A788-2DBC72FED5EA}" srcOrd="2" destOrd="0" presId="urn:microsoft.com/office/officeart/2005/8/layout/list1"/>
    <dgm:cxn modelId="{E5D23B60-8A5D-41A4-ADA4-F27C5D38D72C}" type="presParOf" srcId="{2A02C22B-3862-46B4-AC88-56779F1C256D}" destId="{88A9F856-8F21-4E7F-8D0F-DB5C2200F04D}" srcOrd="3" destOrd="0" presId="urn:microsoft.com/office/officeart/2005/8/layout/list1"/>
    <dgm:cxn modelId="{6427AC30-3E4B-4DD2-BBF0-DDA5C3C9A16B}" type="presParOf" srcId="{2A02C22B-3862-46B4-AC88-56779F1C256D}" destId="{0969E7A1-9DCA-45F5-81F1-1FA7D190F4CC}" srcOrd="4" destOrd="0" presId="urn:microsoft.com/office/officeart/2005/8/layout/list1"/>
    <dgm:cxn modelId="{ED7D4120-A9B3-466E-A962-AFDD07558BB1}" type="presParOf" srcId="{0969E7A1-9DCA-45F5-81F1-1FA7D190F4CC}" destId="{952E34DB-6AE9-4A96-8DD2-9DB32705454C}" srcOrd="0" destOrd="0" presId="urn:microsoft.com/office/officeart/2005/8/layout/list1"/>
    <dgm:cxn modelId="{DDD59B5B-30B3-4BA8-AFDA-A64B5B06F913}" type="presParOf" srcId="{0969E7A1-9DCA-45F5-81F1-1FA7D190F4CC}" destId="{9F7B2DF3-2C7C-490E-B6A4-FC8E9C8E88C9}" srcOrd="1" destOrd="0" presId="urn:microsoft.com/office/officeart/2005/8/layout/list1"/>
    <dgm:cxn modelId="{E70504B7-106D-42AC-A4EA-732BEC35A739}" type="presParOf" srcId="{2A02C22B-3862-46B4-AC88-56779F1C256D}" destId="{2930D6F8-6650-4483-A11E-E12C2299D598}" srcOrd="5" destOrd="0" presId="urn:microsoft.com/office/officeart/2005/8/layout/list1"/>
    <dgm:cxn modelId="{183C1249-534B-460B-8EDC-B6EAFB783F74}" type="presParOf" srcId="{2A02C22B-3862-46B4-AC88-56779F1C256D}" destId="{1DA964AC-4A55-4A27-8D2A-96D58EBA493A}" srcOrd="6" destOrd="0" presId="urn:microsoft.com/office/officeart/2005/8/layout/list1"/>
    <dgm:cxn modelId="{AE8346F3-EDD4-40B8-9596-6D5C815F85EF}" type="presParOf" srcId="{2A02C22B-3862-46B4-AC88-56779F1C256D}" destId="{77CFBFAF-51CB-4471-B86A-E11BD5767237}" srcOrd="7" destOrd="0" presId="urn:microsoft.com/office/officeart/2005/8/layout/list1"/>
    <dgm:cxn modelId="{C2300D5F-4BD3-4360-BBFE-CC2590CD8B52}" type="presParOf" srcId="{2A02C22B-3862-46B4-AC88-56779F1C256D}" destId="{AE143D15-17DB-423F-BF51-E9642466BC46}" srcOrd="8" destOrd="0" presId="urn:microsoft.com/office/officeart/2005/8/layout/list1"/>
    <dgm:cxn modelId="{136564E5-5F90-4D56-82DD-01B317B5D619}" type="presParOf" srcId="{AE143D15-17DB-423F-BF51-E9642466BC46}" destId="{552DD646-E6AC-4E8D-B29D-1613B56CCC57}" srcOrd="0" destOrd="0" presId="urn:microsoft.com/office/officeart/2005/8/layout/list1"/>
    <dgm:cxn modelId="{B6D2C1AB-3013-45E7-A567-F5DCDC9925FA}" type="presParOf" srcId="{AE143D15-17DB-423F-BF51-E9642466BC46}" destId="{CC44156B-E35B-4AA6-BAAD-A093BF798483}" srcOrd="1" destOrd="0" presId="urn:microsoft.com/office/officeart/2005/8/layout/list1"/>
    <dgm:cxn modelId="{89F7A686-4A65-41E2-A8CF-EF184AACE16C}" type="presParOf" srcId="{2A02C22B-3862-46B4-AC88-56779F1C256D}" destId="{7BB38531-63C3-4F8A-A4FE-B55493C61CD3}" srcOrd="9" destOrd="0" presId="urn:microsoft.com/office/officeart/2005/8/layout/list1"/>
    <dgm:cxn modelId="{68F54520-D1D4-4005-858E-562B85AF12F0}" type="presParOf" srcId="{2A02C22B-3862-46B4-AC88-56779F1C256D}" destId="{28C15B55-83BE-4F22-AB61-34F84B57745B}"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5D2B13C-0ADD-4ADC-94FD-722AB86F810D}"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B1B07BCF-FA6F-472B-A857-324926A0825E}">
      <dgm:prSet/>
      <dgm:spPr/>
      <dgm:t>
        <a:bodyPr/>
        <a:lstStyle/>
        <a:p>
          <a:r>
            <a:rPr lang="en-AU" baseline="0" dirty="0"/>
            <a:t>You can manage Microsoft 365 licenses using </a:t>
          </a:r>
          <a:endParaRPr lang="en-US" dirty="0"/>
        </a:p>
      </dgm:t>
    </dgm:pt>
    <dgm:pt modelId="{9C7AB3E7-F766-4D4D-B29A-44C54B235CC9}" type="parTrans" cxnId="{0B6FA3E4-CB38-4C36-9989-1549A2B9784E}">
      <dgm:prSet/>
      <dgm:spPr/>
      <dgm:t>
        <a:bodyPr/>
        <a:lstStyle/>
        <a:p>
          <a:endParaRPr lang="en-US"/>
        </a:p>
      </dgm:t>
    </dgm:pt>
    <dgm:pt modelId="{696FB65C-B662-417F-8904-08E16867F501}" type="sibTrans" cxnId="{0B6FA3E4-CB38-4C36-9989-1549A2B9784E}">
      <dgm:prSet/>
      <dgm:spPr/>
      <dgm:t>
        <a:bodyPr/>
        <a:lstStyle/>
        <a:p>
          <a:endParaRPr lang="en-US"/>
        </a:p>
      </dgm:t>
    </dgm:pt>
    <dgm:pt modelId="{9BEB764B-A3D3-42A8-89D7-C03952D45DD2}">
      <dgm:prSet/>
      <dgm:spPr/>
      <dgm:t>
        <a:bodyPr/>
        <a:lstStyle/>
        <a:p>
          <a:r>
            <a:rPr lang="en-AU" baseline="0" dirty="0"/>
            <a:t>Microsoft 365 Admin </a:t>
          </a:r>
          <a:r>
            <a:rPr lang="en-US" baseline="0" dirty="0"/>
            <a:t>Center (Management Interface)</a:t>
          </a:r>
          <a:endParaRPr lang="en-US" dirty="0"/>
        </a:p>
      </dgm:t>
    </dgm:pt>
    <dgm:pt modelId="{F48961B1-0071-475B-ABD1-58FDE873CE5F}" type="parTrans" cxnId="{999C6818-2C4A-4F91-860D-90CC2DE3B246}">
      <dgm:prSet/>
      <dgm:spPr/>
      <dgm:t>
        <a:bodyPr/>
        <a:lstStyle/>
        <a:p>
          <a:endParaRPr lang="en-US"/>
        </a:p>
      </dgm:t>
    </dgm:pt>
    <dgm:pt modelId="{A792143E-B44C-4DB6-9609-810CD953F079}" type="sibTrans" cxnId="{999C6818-2C4A-4F91-860D-90CC2DE3B246}">
      <dgm:prSet/>
      <dgm:spPr/>
      <dgm:t>
        <a:bodyPr/>
        <a:lstStyle/>
        <a:p>
          <a:endParaRPr lang="en-US"/>
        </a:p>
      </dgm:t>
    </dgm:pt>
    <dgm:pt modelId="{9D69C669-C1E5-45A5-8BC8-D59A51575409}">
      <dgm:prSet/>
      <dgm:spPr/>
      <dgm:t>
        <a:bodyPr/>
        <a:lstStyle/>
        <a:p>
          <a:r>
            <a:rPr lang="en-US" baseline="0"/>
            <a:t>Azure Active Directory PowerShell for Graph (Management Shell)</a:t>
          </a:r>
          <a:endParaRPr lang="en-US"/>
        </a:p>
      </dgm:t>
    </dgm:pt>
    <dgm:pt modelId="{BFE9FFF8-B37A-4EAE-8884-53CFF6FCE1E7}" type="parTrans" cxnId="{2ABB222D-4279-479B-BD87-6427870E24A0}">
      <dgm:prSet/>
      <dgm:spPr/>
      <dgm:t>
        <a:bodyPr/>
        <a:lstStyle/>
        <a:p>
          <a:endParaRPr lang="en-US"/>
        </a:p>
      </dgm:t>
    </dgm:pt>
    <dgm:pt modelId="{C88F87A2-05E8-44CA-917E-2B827A2CBBA0}" type="sibTrans" cxnId="{2ABB222D-4279-479B-BD87-6427870E24A0}">
      <dgm:prSet/>
      <dgm:spPr/>
      <dgm:t>
        <a:bodyPr/>
        <a:lstStyle/>
        <a:p>
          <a:endParaRPr lang="en-US"/>
        </a:p>
      </dgm:t>
    </dgm:pt>
    <dgm:pt modelId="{0138463A-E5A9-40DB-AEFE-A2544AD382F7}">
      <dgm:prSet/>
      <dgm:spPr/>
      <dgm:t>
        <a:bodyPr/>
        <a:lstStyle/>
        <a:p>
          <a:r>
            <a:rPr lang="en-US" baseline="0"/>
            <a:t>Group-based licensing in Azure Active Directory (Management Interface)</a:t>
          </a:r>
          <a:endParaRPr lang="en-US"/>
        </a:p>
      </dgm:t>
    </dgm:pt>
    <dgm:pt modelId="{FE09CB47-87C7-47A9-82A8-B08EE1E8D729}" type="parTrans" cxnId="{9C6158CC-A40F-48B3-970E-A51B5A4E7869}">
      <dgm:prSet/>
      <dgm:spPr/>
      <dgm:t>
        <a:bodyPr/>
        <a:lstStyle/>
        <a:p>
          <a:endParaRPr lang="en-US"/>
        </a:p>
      </dgm:t>
    </dgm:pt>
    <dgm:pt modelId="{5B53297C-6932-462E-A0E4-D6A39FCACD72}" type="sibTrans" cxnId="{9C6158CC-A40F-48B3-970E-A51B5A4E7869}">
      <dgm:prSet/>
      <dgm:spPr/>
      <dgm:t>
        <a:bodyPr/>
        <a:lstStyle/>
        <a:p>
          <a:endParaRPr lang="en-US"/>
        </a:p>
      </dgm:t>
    </dgm:pt>
    <dgm:pt modelId="{2446C84C-0387-4754-B5F6-46F6E14C7C47}">
      <dgm:prSet/>
      <dgm:spPr/>
      <dgm:t>
        <a:bodyPr/>
        <a:lstStyle/>
        <a:p>
          <a:r>
            <a:rPr lang="en-AU" baseline="0"/>
            <a:t>Best practice:</a:t>
          </a:r>
          <a:endParaRPr lang="en-US"/>
        </a:p>
      </dgm:t>
    </dgm:pt>
    <dgm:pt modelId="{E2020772-E9C4-4FF9-99B8-55B9F999372D}" type="parTrans" cxnId="{91BC2392-02B2-4CDA-ACC1-F8C710BE3D16}">
      <dgm:prSet/>
      <dgm:spPr/>
      <dgm:t>
        <a:bodyPr/>
        <a:lstStyle/>
        <a:p>
          <a:endParaRPr lang="en-US"/>
        </a:p>
      </dgm:t>
    </dgm:pt>
    <dgm:pt modelId="{4F851460-6E0E-4C29-8954-C2D16D38B332}" type="sibTrans" cxnId="{91BC2392-02B2-4CDA-ACC1-F8C710BE3D16}">
      <dgm:prSet/>
      <dgm:spPr/>
      <dgm:t>
        <a:bodyPr/>
        <a:lstStyle/>
        <a:p>
          <a:endParaRPr lang="en-US"/>
        </a:p>
      </dgm:t>
    </dgm:pt>
    <dgm:pt modelId="{8644BF73-4501-4201-A552-A04D4D6521F7}">
      <dgm:prSet/>
      <dgm:spPr/>
      <dgm:t>
        <a:bodyPr/>
        <a:lstStyle/>
        <a:p>
          <a:r>
            <a:rPr lang="en-AU" baseline="0"/>
            <a:t>Group based licensing in Azure Active Directory.</a:t>
          </a:r>
          <a:endParaRPr lang="en-US"/>
        </a:p>
      </dgm:t>
    </dgm:pt>
    <dgm:pt modelId="{8763E35E-7711-4410-879A-6E2061FF430F}" type="parTrans" cxnId="{82EDFF43-79BB-4F95-9A44-7AB025814A07}">
      <dgm:prSet/>
      <dgm:spPr/>
      <dgm:t>
        <a:bodyPr/>
        <a:lstStyle/>
        <a:p>
          <a:endParaRPr lang="en-US"/>
        </a:p>
      </dgm:t>
    </dgm:pt>
    <dgm:pt modelId="{6D13A6D9-5BE8-4567-8108-9A64D5EF1BB2}" type="sibTrans" cxnId="{82EDFF43-79BB-4F95-9A44-7AB025814A07}">
      <dgm:prSet/>
      <dgm:spPr/>
      <dgm:t>
        <a:bodyPr/>
        <a:lstStyle/>
        <a:p>
          <a:endParaRPr lang="en-US"/>
        </a:p>
      </dgm:t>
    </dgm:pt>
    <dgm:pt modelId="{2A1551B5-0852-4D23-BE75-172CB5158D38}">
      <dgm:prSet/>
      <dgm:spPr/>
      <dgm:t>
        <a:bodyPr/>
        <a:lstStyle/>
        <a:p>
          <a:r>
            <a:rPr lang="en-AU" baseline="0"/>
            <a:t>If a SharePoint license is assigned, and then removed: </a:t>
          </a:r>
          <a:endParaRPr lang="en-US"/>
        </a:p>
      </dgm:t>
    </dgm:pt>
    <dgm:pt modelId="{3B1E2DE8-67AC-411F-9AD1-12BA44DC3335}" type="parTrans" cxnId="{A90FD3F0-FF22-40A1-9DC1-63F262975402}">
      <dgm:prSet/>
      <dgm:spPr/>
      <dgm:t>
        <a:bodyPr/>
        <a:lstStyle/>
        <a:p>
          <a:endParaRPr lang="en-US"/>
        </a:p>
      </dgm:t>
    </dgm:pt>
    <dgm:pt modelId="{FEF6152E-5FED-4C63-8F06-3D097D5CC74D}" type="sibTrans" cxnId="{A90FD3F0-FF22-40A1-9DC1-63F262975402}">
      <dgm:prSet/>
      <dgm:spPr/>
      <dgm:t>
        <a:bodyPr/>
        <a:lstStyle/>
        <a:p>
          <a:endParaRPr lang="en-US"/>
        </a:p>
      </dgm:t>
    </dgm:pt>
    <dgm:pt modelId="{AC26BDB9-3B5B-4E92-A4D5-2B197F733BB1}">
      <dgm:prSet/>
      <dgm:spPr/>
      <dgm:t>
        <a:bodyPr/>
        <a:lstStyle/>
        <a:p>
          <a:r>
            <a:rPr lang="en-AU" baseline="0"/>
            <a:t>A user’s content in SharePoint Online will remain in SharePoint Online</a:t>
          </a:r>
          <a:endParaRPr lang="en-US"/>
        </a:p>
      </dgm:t>
    </dgm:pt>
    <dgm:pt modelId="{529A30CD-F6AE-40B1-A0BA-A55051EBDDA5}" type="parTrans" cxnId="{112BDA5C-AB81-43D9-875D-5AA7C7CBD230}">
      <dgm:prSet/>
      <dgm:spPr/>
      <dgm:t>
        <a:bodyPr/>
        <a:lstStyle/>
        <a:p>
          <a:endParaRPr lang="en-US"/>
        </a:p>
      </dgm:t>
    </dgm:pt>
    <dgm:pt modelId="{3EFBC5A0-66E6-4F4A-A852-A47C346BEB8B}" type="sibTrans" cxnId="{112BDA5C-AB81-43D9-875D-5AA7C7CBD230}">
      <dgm:prSet/>
      <dgm:spPr/>
      <dgm:t>
        <a:bodyPr/>
        <a:lstStyle/>
        <a:p>
          <a:endParaRPr lang="en-US"/>
        </a:p>
      </dgm:t>
    </dgm:pt>
    <dgm:pt modelId="{B09017AD-AA23-40D7-A53E-DAADAD531422}">
      <dgm:prSet/>
      <dgm:spPr/>
      <dgm:t>
        <a:bodyPr/>
        <a:lstStyle/>
        <a:p>
          <a:r>
            <a:rPr lang="en-AU" baseline="0"/>
            <a:t>The Users OneDrive for Business will remain and will not go into a clean-up or deletion process</a:t>
          </a:r>
          <a:endParaRPr lang="en-US"/>
        </a:p>
      </dgm:t>
    </dgm:pt>
    <dgm:pt modelId="{71DEBC4D-928F-4015-A2D2-E4588BCAAB51}" type="parTrans" cxnId="{99686C4A-A9B9-443D-A43B-5895827C89AD}">
      <dgm:prSet/>
      <dgm:spPr/>
      <dgm:t>
        <a:bodyPr/>
        <a:lstStyle/>
        <a:p>
          <a:endParaRPr lang="en-US"/>
        </a:p>
      </dgm:t>
    </dgm:pt>
    <dgm:pt modelId="{7682E554-08BF-4542-B084-4A0D2EAE6144}" type="sibTrans" cxnId="{99686C4A-A9B9-443D-A43B-5895827C89AD}">
      <dgm:prSet/>
      <dgm:spPr/>
      <dgm:t>
        <a:bodyPr/>
        <a:lstStyle/>
        <a:p>
          <a:endParaRPr lang="en-US"/>
        </a:p>
      </dgm:t>
    </dgm:pt>
    <dgm:pt modelId="{422D77B2-E437-4404-AB1C-DA86C42581BF}">
      <dgm:prSet/>
      <dgm:spPr/>
      <dgm:t>
        <a:bodyPr/>
        <a:lstStyle/>
        <a:p>
          <a:r>
            <a:rPr lang="en-AU" baseline="0"/>
            <a:t>The OneDrive for Business clean-up process only occurs when the user’s account is no longer in Azure AD </a:t>
          </a:r>
          <a:endParaRPr lang="en-US"/>
        </a:p>
      </dgm:t>
    </dgm:pt>
    <dgm:pt modelId="{41320647-EBE3-48DD-AC13-FF8DAC95DB83}" type="parTrans" cxnId="{E0A6BF8C-06A4-4242-BB6E-E1F0544FEF32}">
      <dgm:prSet/>
      <dgm:spPr/>
      <dgm:t>
        <a:bodyPr/>
        <a:lstStyle/>
        <a:p>
          <a:endParaRPr lang="en-US"/>
        </a:p>
      </dgm:t>
    </dgm:pt>
    <dgm:pt modelId="{ADC0D938-4FE6-490A-8122-80E077CBDA37}" type="sibTrans" cxnId="{E0A6BF8C-06A4-4242-BB6E-E1F0544FEF32}">
      <dgm:prSet/>
      <dgm:spPr/>
      <dgm:t>
        <a:bodyPr/>
        <a:lstStyle/>
        <a:p>
          <a:endParaRPr lang="en-US"/>
        </a:p>
      </dgm:t>
    </dgm:pt>
    <dgm:pt modelId="{9B25BA9C-DD3F-4D46-B2D0-7F078226A11F}">
      <dgm:prSet/>
      <dgm:spPr/>
      <dgm:t>
        <a:bodyPr/>
        <a:lstStyle/>
        <a:p>
          <a:r>
            <a:rPr lang="en-AU" baseline="0"/>
            <a:t>User still shows up in people-picker </a:t>
          </a:r>
          <a:endParaRPr lang="en-US"/>
        </a:p>
      </dgm:t>
    </dgm:pt>
    <dgm:pt modelId="{A1950C1F-671C-465A-8477-A9A5B71DC0CD}" type="parTrans" cxnId="{7E3F8738-6040-493E-BE94-E05ACE06EC35}">
      <dgm:prSet/>
      <dgm:spPr/>
      <dgm:t>
        <a:bodyPr/>
        <a:lstStyle/>
        <a:p>
          <a:endParaRPr lang="en-US"/>
        </a:p>
      </dgm:t>
    </dgm:pt>
    <dgm:pt modelId="{77BA81AB-1E7A-4017-8242-5957BB8F8B38}" type="sibTrans" cxnId="{7E3F8738-6040-493E-BE94-E05ACE06EC35}">
      <dgm:prSet/>
      <dgm:spPr/>
      <dgm:t>
        <a:bodyPr/>
        <a:lstStyle/>
        <a:p>
          <a:endParaRPr lang="en-US"/>
        </a:p>
      </dgm:t>
    </dgm:pt>
    <dgm:pt modelId="{237BB412-F537-45C0-84C5-C15A29BE88DD}" type="pres">
      <dgm:prSet presAssocID="{45D2B13C-0ADD-4ADC-94FD-722AB86F810D}" presName="vert0" presStyleCnt="0">
        <dgm:presLayoutVars>
          <dgm:dir/>
          <dgm:animOne val="branch"/>
          <dgm:animLvl val="lvl"/>
        </dgm:presLayoutVars>
      </dgm:prSet>
      <dgm:spPr/>
    </dgm:pt>
    <dgm:pt modelId="{E8095D40-F0F1-448D-AE18-C1AF14B8DD72}" type="pres">
      <dgm:prSet presAssocID="{B1B07BCF-FA6F-472B-A857-324926A0825E}" presName="thickLine" presStyleLbl="alignNode1" presStyleIdx="0" presStyleCnt="3"/>
      <dgm:spPr/>
    </dgm:pt>
    <dgm:pt modelId="{9F019A7B-14E6-49EA-9C6A-9DBE57A9AF02}" type="pres">
      <dgm:prSet presAssocID="{B1B07BCF-FA6F-472B-A857-324926A0825E}" presName="horz1" presStyleCnt="0"/>
      <dgm:spPr/>
    </dgm:pt>
    <dgm:pt modelId="{3C34DE11-3B1E-4409-9E12-FB39F116F617}" type="pres">
      <dgm:prSet presAssocID="{B1B07BCF-FA6F-472B-A857-324926A0825E}" presName="tx1" presStyleLbl="revTx" presStyleIdx="0" presStyleCnt="11"/>
      <dgm:spPr/>
    </dgm:pt>
    <dgm:pt modelId="{4AC2BCEE-E0A7-480F-BA05-33B9AA389BB5}" type="pres">
      <dgm:prSet presAssocID="{B1B07BCF-FA6F-472B-A857-324926A0825E}" presName="vert1" presStyleCnt="0"/>
      <dgm:spPr/>
    </dgm:pt>
    <dgm:pt modelId="{F4373602-B45F-4F02-AF9D-FF5ED4434484}" type="pres">
      <dgm:prSet presAssocID="{9BEB764B-A3D3-42A8-89D7-C03952D45DD2}" presName="vertSpace2a" presStyleCnt="0"/>
      <dgm:spPr/>
    </dgm:pt>
    <dgm:pt modelId="{D18FD6DB-DABE-4548-97DF-9387150C6B06}" type="pres">
      <dgm:prSet presAssocID="{9BEB764B-A3D3-42A8-89D7-C03952D45DD2}" presName="horz2" presStyleCnt="0"/>
      <dgm:spPr/>
    </dgm:pt>
    <dgm:pt modelId="{BAAAB0DB-5728-4855-A81C-A08E975BF8F0}" type="pres">
      <dgm:prSet presAssocID="{9BEB764B-A3D3-42A8-89D7-C03952D45DD2}" presName="horzSpace2" presStyleCnt="0"/>
      <dgm:spPr/>
    </dgm:pt>
    <dgm:pt modelId="{1D3889FB-C3B6-49CE-A877-A6620671FEA2}" type="pres">
      <dgm:prSet presAssocID="{9BEB764B-A3D3-42A8-89D7-C03952D45DD2}" presName="tx2" presStyleLbl="revTx" presStyleIdx="1" presStyleCnt="11"/>
      <dgm:spPr/>
    </dgm:pt>
    <dgm:pt modelId="{D8827150-492C-4AEC-9128-220675199165}" type="pres">
      <dgm:prSet presAssocID="{9BEB764B-A3D3-42A8-89D7-C03952D45DD2}" presName="vert2" presStyleCnt="0"/>
      <dgm:spPr/>
    </dgm:pt>
    <dgm:pt modelId="{25DCD9DA-6060-4104-820A-5FFCA422E11C}" type="pres">
      <dgm:prSet presAssocID="{9BEB764B-A3D3-42A8-89D7-C03952D45DD2}" presName="thinLine2b" presStyleLbl="callout" presStyleIdx="0" presStyleCnt="8"/>
      <dgm:spPr/>
    </dgm:pt>
    <dgm:pt modelId="{46670355-FA2C-4E7D-B761-9DC9728010C4}" type="pres">
      <dgm:prSet presAssocID="{9BEB764B-A3D3-42A8-89D7-C03952D45DD2}" presName="vertSpace2b" presStyleCnt="0"/>
      <dgm:spPr/>
    </dgm:pt>
    <dgm:pt modelId="{C9F6978C-40DC-4F11-8AF6-742D901C76E4}" type="pres">
      <dgm:prSet presAssocID="{9D69C669-C1E5-45A5-8BC8-D59A51575409}" presName="horz2" presStyleCnt="0"/>
      <dgm:spPr/>
    </dgm:pt>
    <dgm:pt modelId="{78F19F97-69A0-4C62-A88E-422481EC6A80}" type="pres">
      <dgm:prSet presAssocID="{9D69C669-C1E5-45A5-8BC8-D59A51575409}" presName="horzSpace2" presStyleCnt="0"/>
      <dgm:spPr/>
    </dgm:pt>
    <dgm:pt modelId="{7403359E-AB60-486C-A8B2-C4271F2B8C73}" type="pres">
      <dgm:prSet presAssocID="{9D69C669-C1E5-45A5-8BC8-D59A51575409}" presName="tx2" presStyleLbl="revTx" presStyleIdx="2" presStyleCnt="11"/>
      <dgm:spPr/>
    </dgm:pt>
    <dgm:pt modelId="{009DCF87-A143-4DAB-8F25-6C729D3A4439}" type="pres">
      <dgm:prSet presAssocID="{9D69C669-C1E5-45A5-8BC8-D59A51575409}" presName="vert2" presStyleCnt="0"/>
      <dgm:spPr/>
    </dgm:pt>
    <dgm:pt modelId="{44C5EAAD-6D73-4C14-B126-5510D9624458}" type="pres">
      <dgm:prSet presAssocID="{9D69C669-C1E5-45A5-8BC8-D59A51575409}" presName="thinLine2b" presStyleLbl="callout" presStyleIdx="1" presStyleCnt="8"/>
      <dgm:spPr/>
    </dgm:pt>
    <dgm:pt modelId="{A09B1EAA-4EC0-43F4-B528-126A0F274C96}" type="pres">
      <dgm:prSet presAssocID="{9D69C669-C1E5-45A5-8BC8-D59A51575409}" presName="vertSpace2b" presStyleCnt="0"/>
      <dgm:spPr/>
    </dgm:pt>
    <dgm:pt modelId="{89229854-A375-412C-8F28-272370F12358}" type="pres">
      <dgm:prSet presAssocID="{0138463A-E5A9-40DB-AEFE-A2544AD382F7}" presName="horz2" presStyleCnt="0"/>
      <dgm:spPr/>
    </dgm:pt>
    <dgm:pt modelId="{CFCC9FDF-0379-4CFF-A9DA-F617E7ADA164}" type="pres">
      <dgm:prSet presAssocID="{0138463A-E5A9-40DB-AEFE-A2544AD382F7}" presName="horzSpace2" presStyleCnt="0"/>
      <dgm:spPr/>
    </dgm:pt>
    <dgm:pt modelId="{9EB24786-ECB6-45FC-85C1-449A1775C03E}" type="pres">
      <dgm:prSet presAssocID="{0138463A-E5A9-40DB-AEFE-A2544AD382F7}" presName="tx2" presStyleLbl="revTx" presStyleIdx="3" presStyleCnt="11"/>
      <dgm:spPr/>
    </dgm:pt>
    <dgm:pt modelId="{DBC62D64-6CBF-4CA9-A0B5-430E18FE3531}" type="pres">
      <dgm:prSet presAssocID="{0138463A-E5A9-40DB-AEFE-A2544AD382F7}" presName="vert2" presStyleCnt="0"/>
      <dgm:spPr/>
    </dgm:pt>
    <dgm:pt modelId="{A71C0F45-7D2A-4346-8E5B-C569C8FD85E8}" type="pres">
      <dgm:prSet presAssocID="{0138463A-E5A9-40DB-AEFE-A2544AD382F7}" presName="thinLine2b" presStyleLbl="callout" presStyleIdx="2" presStyleCnt="8"/>
      <dgm:spPr/>
    </dgm:pt>
    <dgm:pt modelId="{340E04BE-0455-48A6-9FAC-A0D5BDC297F1}" type="pres">
      <dgm:prSet presAssocID="{0138463A-E5A9-40DB-AEFE-A2544AD382F7}" presName="vertSpace2b" presStyleCnt="0"/>
      <dgm:spPr/>
    </dgm:pt>
    <dgm:pt modelId="{886E14DD-C734-427F-B406-6FFE9E9BC356}" type="pres">
      <dgm:prSet presAssocID="{2446C84C-0387-4754-B5F6-46F6E14C7C47}" presName="thickLine" presStyleLbl="alignNode1" presStyleIdx="1" presStyleCnt="3"/>
      <dgm:spPr/>
    </dgm:pt>
    <dgm:pt modelId="{54DDEE6D-456D-4952-8DB0-C2AC18A484F6}" type="pres">
      <dgm:prSet presAssocID="{2446C84C-0387-4754-B5F6-46F6E14C7C47}" presName="horz1" presStyleCnt="0"/>
      <dgm:spPr/>
    </dgm:pt>
    <dgm:pt modelId="{B1561897-6BE4-4132-8497-D2747E035F78}" type="pres">
      <dgm:prSet presAssocID="{2446C84C-0387-4754-B5F6-46F6E14C7C47}" presName="tx1" presStyleLbl="revTx" presStyleIdx="4" presStyleCnt="11"/>
      <dgm:spPr/>
    </dgm:pt>
    <dgm:pt modelId="{CFE4A5A2-3B56-4E48-BD48-ABDBC411378E}" type="pres">
      <dgm:prSet presAssocID="{2446C84C-0387-4754-B5F6-46F6E14C7C47}" presName="vert1" presStyleCnt="0"/>
      <dgm:spPr/>
    </dgm:pt>
    <dgm:pt modelId="{AADF9F0C-A6B1-4D0A-803E-B08F0DABF0AE}" type="pres">
      <dgm:prSet presAssocID="{8644BF73-4501-4201-A552-A04D4D6521F7}" presName="vertSpace2a" presStyleCnt="0"/>
      <dgm:spPr/>
    </dgm:pt>
    <dgm:pt modelId="{1EAC7B1A-A983-48AA-A932-3B53DFEA2F2F}" type="pres">
      <dgm:prSet presAssocID="{8644BF73-4501-4201-A552-A04D4D6521F7}" presName="horz2" presStyleCnt="0"/>
      <dgm:spPr/>
    </dgm:pt>
    <dgm:pt modelId="{BF80DBD9-1386-4064-B872-D60ECF5B3DDA}" type="pres">
      <dgm:prSet presAssocID="{8644BF73-4501-4201-A552-A04D4D6521F7}" presName="horzSpace2" presStyleCnt="0"/>
      <dgm:spPr/>
    </dgm:pt>
    <dgm:pt modelId="{0F5A1D66-5636-4AE5-AF6B-D19E3098CEEB}" type="pres">
      <dgm:prSet presAssocID="{8644BF73-4501-4201-A552-A04D4D6521F7}" presName="tx2" presStyleLbl="revTx" presStyleIdx="5" presStyleCnt="11"/>
      <dgm:spPr/>
    </dgm:pt>
    <dgm:pt modelId="{035F2BB7-2E9F-46A2-915D-F6A41597B782}" type="pres">
      <dgm:prSet presAssocID="{8644BF73-4501-4201-A552-A04D4D6521F7}" presName="vert2" presStyleCnt="0"/>
      <dgm:spPr/>
    </dgm:pt>
    <dgm:pt modelId="{2EE86001-42C3-4E1D-B1B4-9FFC33211EF9}" type="pres">
      <dgm:prSet presAssocID="{8644BF73-4501-4201-A552-A04D4D6521F7}" presName="thinLine2b" presStyleLbl="callout" presStyleIdx="3" presStyleCnt="8"/>
      <dgm:spPr/>
    </dgm:pt>
    <dgm:pt modelId="{0AD2B2F1-AC7E-470D-BBDF-42E7508C81EB}" type="pres">
      <dgm:prSet presAssocID="{8644BF73-4501-4201-A552-A04D4D6521F7}" presName="vertSpace2b" presStyleCnt="0"/>
      <dgm:spPr/>
    </dgm:pt>
    <dgm:pt modelId="{1194FFB7-31BD-45E2-9EC3-CEA87DD43B06}" type="pres">
      <dgm:prSet presAssocID="{2A1551B5-0852-4D23-BE75-172CB5158D38}" presName="thickLine" presStyleLbl="alignNode1" presStyleIdx="2" presStyleCnt="3"/>
      <dgm:spPr/>
    </dgm:pt>
    <dgm:pt modelId="{D272A901-A308-46C9-8593-D8B94423998D}" type="pres">
      <dgm:prSet presAssocID="{2A1551B5-0852-4D23-BE75-172CB5158D38}" presName="horz1" presStyleCnt="0"/>
      <dgm:spPr/>
    </dgm:pt>
    <dgm:pt modelId="{012A610E-01F1-47A4-B6E7-C642BDC4114B}" type="pres">
      <dgm:prSet presAssocID="{2A1551B5-0852-4D23-BE75-172CB5158D38}" presName="tx1" presStyleLbl="revTx" presStyleIdx="6" presStyleCnt="11"/>
      <dgm:spPr/>
    </dgm:pt>
    <dgm:pt modelId="{F1155873-4B69-47AF-8C82-C0D283B05421}" type="pres">
      <dgm:prSet presAssocID="{2A1551B5-0852-4D23-BE75-172CB5158D38}" presName="vert1" presStyleCnt="0"/>
      <dgm:spPr/>
    </dgm:pt>
    <dgm:pt modelId="{952BCCAD-82D4-445C-876C-EE095E628BCD}" type="pres">
      <dgm:prSet presAssocID="{AC26BDB9-3B5B-4E92-A4D5-2B197F733BB1}" presName="vertSpace2a" presStyleCnt="0"/>
      <dgm:spPr/>
    </dgm:pt>
    <dgm:pt modelId="{B06E6DE3-7397-4165-BDB7-58C8880F4B74}" type="pres">
      <dgm:prSet presAssocID="{AC26BDB9-3B5B-4E92-A4D5-2B197F733BB1}" presName="horz2" presStyleCnt="0"/>
      <dgm:spPr/>
    </dgm:pt>
    <dgm:pt modelId="{55E0DFBD-6022-4CD7-ABBE-89A01FD78F96}" type="pres">
      <dgm:prSet presAssocID="{AC26BDB9-3B5B-4E92-A4D5-2B197F733BB1}" presName="horzSpace2" presStyleCnt="0"/>
      <dgm:spPr/>
    </dgm:pt>
    <dgm:pt modelId="{B221210C-A8C1-43A5-B513-5B3D6725E00E}" type="pres">
      <dgm:prSet presAssocID="{AC26BDB9-3B5B-4E92-A4D5-2B197F733BB1}" presName="tx2" presStyleLbl="revTx" presStyleIdx="7" presStyleCnt="11"/>
      <dgm:spPr/>
    </dgm:pt>
    <dgm:pt modelId="{A1C37173-5C1B-44BF-9431-224B77AD0B52}" type="pres">
      <dgm:prSet presAssocID="{AC26BDB9-3B5B-4E92-A4D5-2B197F733BB1}" presName="vert2" presStyleCnt="0"/>
      <dgm:spPr/>
    </dgm:pt>
    <dgm:pt modelId="{68FA9984-0E04-48C1-B5BF-C75182DEECC3}" type="pres">
      <dgm:prSet presAssocID="{AC26BDB9-3B5B-4E92-A4D5-2B197F733BB1}" presName="thinLine2b" presStyleLbl="callout" presStyleIdx="4" presStyleCnt="8"/>
      <dgm:spPr/>
    </dgm:pt>
    <dgm:pt modelId="{D8DE2294-46AF-4F1D-9DA3-09CC0ADBD57F}" type="pres">
      <dgm:prSet presAssocID="{AC26BDB9-3B5B-4E92-A4D5-2B197F733BB1}" presName="vertSpace2b" presStyleCnt="0"/>
      <dgm:spPr/>
    </dgm:pt>
    <dgm:pt modelId="{4446122F-7E10-4113-A06D-01BC0B9B90BA}" type="pres">
      <dgm:prSet presAssocID="{B09017AD-AA23-40D7-A53E-DAADAD531422}" presName="horz2" presStyleCnt="0"/>
      <dgm:spPr/>
    </dgm:pt>
    <dgm:pt modelId="{BA78C9EA-63D2-45B2-ABC8-11D5863E7D30}" type="pres">
      <dgm:prSet presAssocID="{B09017AD-AA23-40D7-A53E-DAADAD531422}" presName="horzSpace2" presStyleCnt="0"/>
      <dgm:spPr/>
    </dgm:pt>
    <dgm:pt modelId="{70974481-0526-45FC-AC8E-CB7AF738E826}" type="pres">
      <dgm:prSet presAssocID="{B09017AD-AA23-40D7-A53E-DAADAD531422}" presName="tx2" presStyleLbl="revTx" presStyleIdx="8" presStyleCnt="11"/>
      <dgm:spPr/>
    </dgm:pt>
    <dgm:pt modelId="{8F6929CA-F091-41B9-AA96-5C94E44E32A2}" type="pres">
      <dgm:prSet presAssocID="{B09017AD-AA23-40D7-A53E-DAADAD531422}" presName="vert2" presStyleCnt="0"/>
      <dgm:spPr/>
    </dgm:pt>
    <dgm:pt modelId="{B56A7619-DF50-4882-B158-9966F519E235}" type="pres">
      <dgm:prSet presAssocID="{B09017AD-AA23-40D7-A53E-DAADAD531422}" presName="thinLine2b" presStyleLbl="callout" presStyleIdx="5" presStyleCnt="8"/>
      <dgm:spPr/>
    </dgm:pt>
    <dgm:pt modelId="{3C0FE6C2-70AB-423F-9EF9-6572D5C34DDB}" type="pres">
      <dgm:prSet presAssocID="{B09017AD-AA23-40D7-A53E-DAADAD531422}" presName="vertSpace2b" presStyleCnt="0"/>
      <dgm:spPr/>
    </dgm:pt>
    <dgm:pt modelId="{FF43FA38-37E7-4617-BFB0-0D8233A89E55}" type="pres">
      <dgm:prSet presAssocID="{422D77B2-E437-4404-AB1C-DA86C42581BF}" presName="horz2" presStyleCnt="0"/>
      <dgm:spPr/>
    </dgm:pt>
    <dgm:pt modelId="{84846C62-2B41-49C0-98BE-F4A805957D6A}" type="pres">
      <dgm:prSet presAssocID="{422D77B2-E437-4404-AB1C-DA86C42581BF}" presName="horzSpace2" presStyleCnt="0"/>
      <dgm:spPr/>
    </dgm:pt>
    <dgm:pt modelId="{7475E3BD-0E81-4465-BB19-F3EA11F76289}" type="pres">
      <dgm:prSet presAssocID="{422D77B2-E437-4404-AB1C-DA86C42581BF}" presName="tx2" presStyleLbl="revTx" presStyleIdx="9" presStyleCnt="11"/>
      <dgm:spPr/>
    </dgm:pt>
    <dgm:pt modelId="{9244F9F1-38F3-4EDC-A023-8EC9DA372051}" type="pres">
      <dgm:prSet presAssocID="{422D77B2-E437-4404-AB1C-DA86C42581BF}" presName="vert2" presStyleCnt="0"/>
      <dgm:spPr/>
    </dgm:pt>
    <dgm:pt modelId="{935AD0BE-883C-4B6C-B794-ED4CFF16B4A3}" type="pres">
      <dgm:prSet presAssocID="{422D77B2-E437-4404-AB1C-DA86C42581BF}" presName="thinLine2b" presStyleLbl="callout" presStyleIdx="6" presStyleCnt="8"/>
      <dgm:spPr/>
    </dgm:pt>
    <dgm:pt modelId="{FE9C1CA0-E1C6-4858-BA43-0079878B8FD4}" type="pres">
      <dgm:prSet presAssocID="{422D77B2-E437-4404-AB1C-DA86C42581BF}" presName="vertSpace2b" presStyleCnt="0"/>
      <dgm:spPr/>
    </dgm:pt>
    <dgm:pt modelId="{DD1AAD31-7E1C-47FD-8E57-B3CEB531C8E2}" type="pres">
      <dgm:prSet presAssocID="{9B25BA9C-DD3F-4D46-B2D0-7F078226A11F}" presName="horz2" presStyleCnt="0"/>
      <dgm:spPr/>
    </dgm:pt>
    <dgm:pt modelId="{F8AE63D1-F8EC-40EE-843E-C213ED81EDB8}" type="pres">
      <dgm:prSet presAssocID="{9B25BA9C-DD3F-4D46-B2D0-7F078226A11F}" presName="horzSpace2" presStyleCnt="0"/>
      <dgm:spPr/>
    </dgm:pt>
    <dgm:pt modelId="{75138E77-3333-4365-90DF-EC0ECBA66162}" type="pres">
      <dgm:prSet presAssocID="{9B25BA9C-DD3F-4D46-B2D0-7F078226A11F}" presName="tx2" presStyleLbl="revTx" presStyleIdx="10" presStyleCnt="11"/>
      <dgm:spPr/>
    </dgm:pt>
    <dgm:pt modelId="{11EE6B4B-71C0-47CB-978B-BC09286AE73A}" type="pres">
      <dgm:prSet presAssocID="{9B25BA9C-DD3F-4D46-B2D0-7F078226A11F}" presName="vert2" presStyleCnt="0"/>
      <dgm:spPr/>
    </dgm:pt>
    <dgm:pt modelId="{C578986E-F58F-479B-B188-9256B154626B}" type="pres">
      <dgm:prSet presAssocID="{9B25BA9C-DD3F-4D46-B2D0-7F078226A11F}" presName="thinLine2b" presStyleLbl="callout" presStyleIdx="7" presStyleCnt="8"/>
      <dgm:spPr/>
    </dgm:pt>
    <dgm:pt modelId="{4FC02847-F1CD-4189-A4C3-DAD222682A23}" type="pres">
      <dgm:prSet presAssocID="{9B25BA9C-DD3F-4D46-B2D0-7F078226A11F}" presName="vertSpace2b" presStyleCnt="0"/>
      <dgm:spPr/>
    </dgm:pt>
  </dgm:ptLst>
  <dgm:cxnLst>
    <dgm:cxn modelId="{DEC44003-AB2A-42EE-AC0B-24A205F21676}" type="presOf" srcId="{9D69C669-C1E5-45A5-8BC8-D59A51575409}" destId="{7403359E-AB60-486C-A8B2-C4271F2B8C73}" srcOrd="0" destOrd="0" presId="urn:microsoft.com/office/officeart/2008/layout/LinedList"/>
    <dgm:cxn modelId="{999C6818-2C4A-4F91-860D-90CC2DE3B246}" srcId="{B1B07BCF-FA6F-472B-A857-324926A0825E}" destId="{9BEB764B-A3D3-42A8-89D7-C03952D45DD2}" srcOrd="0" destOrd="0" parTransId="{F48961B1-0071-475B-ABD1-58FDE873CE5F}" sibTransId="{A792143E-B44C-4DB6-9609-810CD953F079}"/>
    <dgm:cxn modelId="{2ABB222D-4279-479B-BD87-6427870E24A0}" srcId="{B1B07BCF-FA6F-472B-A857-324926A0825E}" destId="{9D69C669-C1E5-45A5-8BC8-D59A51575409}" srcOrd="1" destOrd="0" parTransId="{BFE9FFF8-B37A-4EAE-8884-53CFF6FCE1E7}" sibTransId="{C88F87A2-05E8-44CA-917E-2B827A2CBBA0}"/>
    <dgm:cxn modelId="{3E562B2D-2B93-4DE0-88C9-884CDEF0DB4C}" type="presOf" srcId="{B1B07BCF-FA6F-472B-A857-324926A0825E}" destId="{3C34DE11-3B1E-4409-9E12-FB39F116F617}" srcOrd="0" destOrd="0" presId="urn:microsoft.com/office/officeart/2008/layout/LinedList"/>
    <dgm:cxn modelId="{C06D3B36-32DF-4BE8-AA0C-223574F8FDD7}" type="presOf" srcId="{B09017AD-AA23-40D7-A53E-DAADAD531422}" destId="{70974481-0526-45FC-AC8E-CB7AF738E826}" srcOrd="0" destOrd="0" presId="urn:microsoft.com/office/officeart/2008/layout/LinedList"/>
    <dgm:cxn modelId="{7E3F8738-6040-493E-BE94-E05ACE06EC35}" srcId="{2A1551B5-0852-4D23-BE75-172CB5158D38}" destId="{9B25BA9C-DD3F-4D46-B2D0-7F078226A11F}" srcOrd="3" destOrd="0" parTransId="{A1950C1F-671C-465A-8477-A9A5B71DC0CD}" sibTransId="{77BA81AB-1E7A-4017-8242-5957BB8F8B38}"/>
    <dgm:cxn modelId="{112BDA5C-AB81-43D9-875D-5AA7C7CBD230}" srcId="{2A1551B5-0852-4D23-BE75-172CB5158D38}" destId="{AC26BDB9-3B5B-4E92-A4D5-2B197F733BB1}" srcOrd="0" destOrd="0" parTransId="{529A30CD-F6AE-40B1-A0BA-A55051EBDDA5}" sibTransId="{3EFBC5A0-66E6-4F4A-A852-A47C346BEB8B}"/>
    <dgm:cxn modelId="{82EDFF43-79BB-4F95-9A44-7AB025814A07}" srcId="{2446C84C-0387-4754-B5F6-46F6E14C7C47}" destId="{8644BF73-4501-4201-A552-A04D4D6521F7}" srcOrd="0" destOrd="0" parTransId="{8763E35E-7711-4410-879A-6E2061FF430F}" sibTransId="{6D13A6D9-5BE8-4567-8108-9A64D5EF1BB2}"/>
    <dgm:cxn modelId="{76D34446-9938-4F80-BE64-AF8F4D98F98B}" type="presOf" srcId="{8644BF73-4501-4201-A552-A04D4D6521F7}" destId="{0F5A1D66-5636-4AE5-AF6B-D19E3098CEEB}" srcOrd="0" destOrd="0" presId="urn:microsoft.com/office/officeart/2008/layout/LinedList"/>
    <dgm:cxn modelId="{657C364A-1780-4250-9064-947ADE95B820}" type="presOf" srcId="{AC26BDB9-3B5B-4E92-A4D5-2B197F733BB1}" destId="{B221210C-A8C1-43A5-B513-5B3D6725E00E}" srcOrd="0" destOrd="0" presId="urn:microsoft.com/office/officeart/2008/layout/LinedList"/>
    <dgm:cxn modelId="{99686C4A-A9B9-443D-A43B-5895827C89AD}" srcId="{2A1551B5-0852-4D23-BE75-172CB5158D38}" destId="{B09017AD-AA23-40D7-A53E-DAADAD531422}" srcOrd="1" destOrd="0" parTransId="{71DEBC4D-928F-4015-A2D2-E4588BCAAB51}" sibTransId="{7682E554-08BF-4542-B084-4A0D2EAE6144}"/>
    <dgm:cxn modelId="{09AC2A6B-B2DC-46E0-8241-45C4A1EED8A9}" type="presOf" srcId="{0138463A-E5A9-40DB-AEFE-A2544AD382F7}" destId="{9EB24786-ECB6-45FC-85C1-449A1775C03E}" srcOrd="0" destOrd="0" presId="urn:microsoft.com/office/officeart/2008/layout/LinedList"/>
    <dgm:cxn modelId="{BD0E457B-FF46-4F2F-A981-E88203B7DFBA}" type="presOf" srcId="{422D77B2-E437-4404-AB1C-DA86C42581BF}" destId="{7475E3BD-0E81-4465-BB19-F3EA11F76289}" srcOrd="0" destOrd="0" presId="urn:microsoft.com/office/officeart/2008/layout/LinedList"/>
    <dgm:cxn modelId="{E0A6BF8C-06A4-4242-BB6E-E1F0544FEF32}" srcId="{2A1551B5-0852-4D23-BE75-172CB5158D38}" destId="{422D77B2-E437-4404-AB1C-DA86C42581BF}" srcOrd="2" destOrd="0" parTransId="{41320647-EBE3-48DD-AC13-FF8DAC95DB83}" sibTransId="{ADC0D938-4FE6-490A-8122-80E077CBDA37}"/>
    <dgm:cxn modelId="{E8085D8F-1BA3-4D25-BF2E-5D7B8DE98E72}" type="presOf" srcId="{9B25BA9C-DD3F-4D46-B2D0-7F078226A11F}" destId="{75138E77-3333-4365-90DF-EC0ECBA66162}" srcOrd="0" destOrd="0" presId="urn:microsoft.com/office/officeart/2008/layout/LinedList"/>
    <dgm:cxn modelId="{91BC2392-02B2-4CDA-ACC1-F8C710BE3D16}" srcId="{45D2B13C-0ADD-4ADC-94FD-722AB86F810D}" destId="{2446C84C-0387-4754-B5F6-46F6E14C7C47}" srcOrd="1" destOrd="0" parTransId="{E2020772-E9C4-4FF9-99B8-55B9F999372D}" sibTransId="{4F851460-6E0E-4C29-8954-C2D16D38B332}"/>
    <dgm:cxn modelId="{59E0A9B2-B278-48D5-8242-920E22A0A058}" type="presOf" srcId="{2446C84C-0387-4754-B5F6-46F6E14C7C47}" destId="{B1561897-6BE4-4132-8497-D2747E035F78}" srcOrd="0" destOrd="0" presId="urn:microsoft.com/office/officeart/2008/layout/LinedList"/>
    <dgm:cxn modelId="{9C6158CC-A40F-48B3-970E-A51B5A4E7869}" srcId="{B1B07BCF-FA6F-472B-A857-324926A0825E}" destId="{0138463A-E5A9-40DB-AEFE-A2544AD382F7}" srcOrd="2" destOrd="0" parTransId="{FE09CB47-87C7-47A9-82A8-B08EE1E8D729}" sibTransId="{5B53297C-6932-462E-A0E4-D6A39FCACD72}"/>
    <dgm:cxn modelId="{52D43CE3-D054-42B4-B912-AD77CFD76228}" type="presOf" srcId="{45D2B13C-0ADD-4ADC-94FD-722AB86F810D}" destId="{237BB412-F537-45C0-84C5-C15A29BE88DD}" srcOrd="0" destOrd="0" presId="urn:microsoft.com/office/officeart/2008/layout/LinedList"/>
    <dgm:cxn modelId="{0B6FA3E4-CB38-4C36-9989-1549A2B9784E}" srcId="{45D2B13C-0ADD-4ADC-94FD-722AB86F810D}" destId="{B1B07BCF-FA6F-472B-A857-324926A0825E}" srcOrd="0" destOrd="0" parTransId="{9C7AB3E7-F766-4D4D-B29A-44C54B235CC9}" sibTransId="{696FB65C-B662-417F-8904-08E16867F501}"/>
    <dgm:cxn modelId="{8A2A4DE8-C1D7-4D61-9E13-71BBBC6145C7}" type="presOf" srcId="{9BEB764B-A3D3-42A8-89D7-C03952D45DD2}" destId="{1D3889FB-C3B6-49CE-A877-A6620671FEA2}" srcOrd="0" destOrd="0" presId="urn:microsoft.com/office/officeart/2008/layout/LinedList"/>
    <dgm:cxn modelId="{A90FD3F0-FF22-40A1-9DC1-63F262975402}" srcId="{45D2B13C-0ADD-4ADC-94FD-722AB86F810D}" destId="{2A1551B5-0852-4D23-BE75-172CB5158D38}" srcOrd="2" destOrd="0" parTransId="{3B1E2DE8-67AC-411F-9AD1-12BA44DC3335}" sibTransId="{FEF6152E-5FED-4C63-8F06-3D097D5CC74D}"/>
    <dgm:cxn modelId="{BCB707F7-DF56-44D0-A1D0-B880F83904D1}" type="presOf" srcId="{2A1551B5-0852-4D23-BE75-172CB5158D38}" destId="{012A610E-01F1-47A4-B6E7-C642BDC4114B}" srcOrd="0" destOrd="0" presId="urn:microsoft.com/office/officeart/2008/layout/LinedList"/>
    <dgm:cxn modelId="{C3900AA4-138E-4248-A5C8-332CC4DC0989}" type="presParOf" srcId="{237BB412-F537-45C0-84C5-C15A29BE88DD}" destId="{E8095D40-F0F1-448D-AE18-C1AF14B8DD72}" srcOrd="0" destOrd="0" presId="urn:microsoft.com/office/officeart/2008/layout/LinedList"/>
    <dgm:cxn modelId="{75AE2AEB-D835-4161-B5CD-5B346B16484F}" type="presParOf" srcId="{237BB412-F537-45C0-84C5-C15A29BE88DD}" destId="{9F019A7B-14E6-49EA-9C6A-9DBE57A9AF02}" srcOrd="1" destOrd="0" presId="urn:microsoft.com/office/officeart/2008/layout/LinedList"/>
    <dgm:cxn modelId="{CCCD161B-3B08-416C-BAA0-365D4A342EAB}" type="presParOf" srcId="{9F019A7B-14E6-49EA-9C6A-9DBE57A9AF02}" destId="{3C34DE11-3B1E-4409-9E12-FB39F116F617}" srcOrd="0" destOrd="0" presId="urn:microsoft.com/office/officeart/2008/layout/LinedList"/>
    <dgm:cxn modelId="{E82C2164-0A22-4C4B-B4D9-1F1DB5444648}" type="presParOf" srcId="{9F019A7B-14E6-49EA-9C6A-9DBE57A9AF02}" destId="{4AC2BCEE-E0A7-480F-BA05-33B9AA389BB5}" srcOrd="1" destOrd="0" presId="urn:microsoft.com/office/officeart/2008/layout/LinedList"/>
    <dgm:cxn modelId="{2AA17D71-0083-417C-8EA7-00522C853882}" type="presParOf" srcId="{4AC2BCEE-E0A7-480F-BA05-33B9AA389BB5}" destId="{F4373602-B45F-4F02-AF9D-FF5ED4434484}" srcOrd="0" destOrd="0" presId="urn:microsoft.com/office/officeart/2008/layout/LinedList"/>
    <dgm:cxn modelId="{360EB6C4-079B-4D54-BACF-3BDE03E5EEC4}" type="presParOf" srcId="{4AC2BCEE-E0A7-480F-BA05-33B9AA389BB5}" destId="{D18FD6DB-DABE-4548-97DF-9387150C6B06}" srcOrd="1" destOrd="0" presId="urn:microsoft.com/office/officeart/2008/layout/LinedList"/>
    <dgm:cxn modelId="{45D5C104-9B33-4D57-9D6C-A2549769D46B}" type="presParOf" srcId="{D18FD6DB-DABE-4548-97DF-9387150C6B06}" destId="{BAAAB0DB-5728-4855-A81C-A08E975BF8F0}" srcOrd="0" destOrd="0" presId="urn:microsoft.com/office/officeart/2008/layout/LinedList"/>
    <dgm:cxn modelId="{651FA5B3-2552-42E0-A5D1-506DA801E33B}" type="presParOf" srcId="{D18FD6DB-DABE-4548-97DF-9387150C6B06}" destId="{1D3889FB-C3B6-49CE-A877-A6620671FEA2}" srcOrd="1" destOrd="0" presId="urn:microsoft.com/office/officeart/2008/layout/LinedList"/>
    <dgm:cxn modelId="{C4C8823A-3B52-4AA7-A74F-2F0197DF0FA1}" type="presParOf" srcId="{D18FD6DB-DABE-4548-97DF-9387150C6B06}" destId="{D8827150-492C-4AEC-9128-220675199165}" srcOrd="2" destOrd="0" presId="urn:microsoft.com/office/officeart/2008/layout/LinedList"/>
    <dgm:cxn modelId="{AB6DAE49-22FC-44AD-80BE-6403789D79BC}" type="presParOf" srcId="{4AC2BCEE-E0A7-480F-BA05-33B9AA389BB5}" destId="{25DCD9DA-6060-4104-820A-5FFCA422E11C}" srcOrd="2" destOrd="0" presId="urn:microsoft.com/office/officeart/2008/layout/LinedList"/>
    <dgm:cxn modelId="{DBB3520E-0BC1-4A00-A593-540FD99AB3AD}" type="presParOf" srcId="{4AC2BCEE-E0A7-480F-BA05-33B9AA389BB5}" destId="{46670355-FA2C-4E7D-B761-9DC9728010C4}" srcOrd="3" destOrd="0" presId="urn:microsoft.com/office/officeart/2008/layout/LinedList"/>
    <dgm:cxn modelId="{3722B683-B500-4567-AE0A-F179B5249EE8}" type="presParOf" srcId="{4AC2BCEE-E0A7-480F-BA05-33B9AA389BB5}" destId="{C9F6978C-40DC-4F11-8AF6-742D901C76E4}" srcOrd="4" destOrd="0" presId="urn:microsoft.com/office/officeart/2008/layout/LinedList"/>
    <dgm:cxn modelId="{E7BA1759-5B7F-422D-A503-37F40D2DD3B7}" type="presParOf" srcId="{C9F6978C-40DC-4F11-8AF6-742D901C76E4}" destId="{78F19F97-69A0-4C62-A88E-422481EC6A80}" srcOrd="0" destOrd="0" presId="urn:microsoft.com/office/officeart/2008/layout/LinedList"/>
    <dgm:cxn modelId="{F3175AC9-A589-4BE6-A66A-E53B7B647896}" type="presParOf" srcId="{C9F6978C-40DC-4F11-8AF6-742D901C76E4}" destId="{7403359E-AB60-486C-A8B2-C4271F2B8C73}" srcOrd="1" destOrd="0" presId="urn:microsoft.com/office/officeart/2008/layout/LinedList"/>
    <dgm:cxn modelId="{6B1BEA9C-806C-4185-B0EB-77DDC59E7502}" type="presParOf" srcId="{C9F6978C-40DC-4F11-8AF6-742D901C76E4}" destId="{009DCF87-A143-4DAB-8F25-6C729D3A4439}" srcOrd="2" destOrd="0" presId="urn:microsoft.com/office/officeart/2008/layout/LinedList"/>
    <dgm:cxn modelId="{7DF22002-25D0-47BB-8286-A6048B63D03A}" type="presParOf" srcId="{4AC2BCEE-E0A7-480F-BA05-33B9AA389BB5}" destId="{44C5EAAD-6D73-4C14-B126-5510D9624458}" srcOrd="5" destOrd="0" presId="urn:microsoft.com/office/officeart/2008/layout/LinedList"/>
    <dgm:cxn modelId="{FEF10012-1D7B-4BAE-8381-C830CC60C363}" type="presParOf" srcId="{4AC2BCEE-E0A7-480F-BA05-33B9AA389BB5}" destId="{A09B1EAA-4EC0-43F4-B528-126A0F274C96}" srcOrd="6" destOrd="0" presId="urn:microsoft.com/office/officeart/2008/layout/LinedList"/>
    <dgm:cxn modelId="{41B8FFD4-CB42-46B6-A379-8CC69BA47E69}" type="presParOf" srcId="{4AC2BCEE-E0A7-480F-BA05-33B9AA389BB5}" destId="{89229854-A375-412C-8F28-272370F12358}" srcOrd="7" destOrd="0" presId="urn:microsoft.com/office/officeart/2008/layout/LinedList"/>
    <dgm:cxn modelId="{F23C09EC-1012-4CFF-8D7B-3F1759D2052D}" type="presParOf" srcId="{89229854-A375-412C-8F28-272370F12358}" destId="{CFCC9FDF-0379-4CFF-A9DA-F617E7ADA164}" srcOrd="0" destOrd="0" presId="urn:microsoft.com/office/officeart/2008/layout/LinedList"/>
    <dgm:cxn modelId="{E2C07DAB-A0FE-4A5F-BC8D-C475EAF00ACC}" type="presParOf" srcId="{89229854-A375-412C-8F28-272370F12358}" destId="{9EB24786-ECB6-45FC-85C1-449A1775C03E}" srcOrd="1" destOrd="0" presId="urn:microsoft.com/office/officeart/2008/layout/LinedList"/>
    <dgm:cxn modelId="{E301BC2F-C830-4D89-B066-0D2C23923B06}" type="presParOf" srcId="{89229854-A375-412C-8F28-272370F12358}" destId="{DBC62D64-6CBF-4CA9-A0B5-430E18FE3531}" srcOrd="2" destOrd="0" presId="urn:microsoft.com/office/officeart/2008/layout/LinedList"/>
    <dgm:cxn modelId="{1148568D-40D5-4E7E-81F4-9AD8C09C9C96}" type="presParOf" srcId="{4AC2BCEE-E0A7-480F-BA05-33B9AA389BB5}" destId="{A71C0F45-7D2A-4346-8E5B-C569C8FD85E8}" srcOrd="8" destOrd="0" presId="urn:microsoft.com/office/officeart/2008/layout/LinedList"/>
    <dgm:cxn modelId="{88E89214-1D92-4F96-AAD3-6A5203DED83E}" type="presParOf" srcId="{4AC2BCEE-E0A7-480F-BA05-33B9AA389BB5}" destId="{340E04BE-0455-48A6-9FAC-A0D5BDC297F1}" srcOrd="9" destOrd="0" presId="urn:microsoft.com/office/officeart/2008/layout/LinedList"/>
    <dgm:cxn modelId="{CBB2D835-5101-4E52-88F2-5D1BD5A9091B}" type="presParOf" srcId="{237BB412-F537-45C0-84C5-C15A29BE88DD}" destId="{886E14DD-C734-427F-B406-6FFE9E9BC356}" srcOrd="2" destOrd="0" presId="urn:microsoft.com/office/officeart/2008/layout/LinedList"/>
    <dgm:cxn modelId="{944B2406-9071-477B-9D04-F9EC3DC57585}" type="presParOf" srcId="{237BB412-F537-45C0-84C5-C15A29BE88DD}" destId="{54DDEE6D-456D-4952-8DB0-C2AC18A484F6}" srcOrd="3" destOrd="0" presId="urn:microsoft.com/office/officeart/2008/layout/LinedList"/>
    <dgm:cxn modelId="{D68024D4-9751-4236-96FA-73CF952C3328}" type="presParOf" srcId="{54DDEE6D-456D-4952-8DB0-C2AC18A484F6}" destId="{B1561897-6BE4-4132-8497-D2747E035F78}" srcOrd="0" destOrd="0" presId="urn:microsoft.com/office/officeart/2008/layout/LinedList"/>
    <dgm:cxn modelId="{E9D4D533-E97F-419F-BDE3-D12645993D6E}" type="presParOf" srcId="{54DDEE6D-456D-4952-8DB0-C2AC18A484F6}" destId="{CFE4A5A2-3B56-4E48-BD48-ABDBC411378E}" srcOrd="1" destOrd="0" presId="urn:microsoft.com/office/officeart/2008/layout/LinedList"/>
    <dgm:cxn modelId="{D3B03591-6B78-4855-9507-58B601956802}" type="presParOf" srcId="{CFE4A5A2-3B56-4E48-BD48-ABDBC411378E}" destId="{AADF9F0C-A6B1-4D0A-803E-B08F0DABF0AE}" srcOrd="0" destOrd="0" presId="urn:microsoft.com/office/officeart/2008/layout/LinedList"/>
    <dgm:cxn modelId="{2ABD66C0-BF11-4DB8-8662-32C44C89B813}" type="presParOf" srcId="{CFE4A5A2-3B56-4E48-BD48-ABDBC411378E}" destId="{1EAC7B1A-A983-48AA-A932-3B53DFEA2F2F}" srcOrd="1" destOrd="0" presId="urn:microsoft.com/office/officeart/2008/layout/LinedList"/>
    <dgm:cxn modelId="{F08B9691-EAF1-44DF-8B43-AF1A4B0367A0}" type="presParOf" srcId="{1EAC7B1A-A983-48AA-A932-3B53DFEA2F2F}" destId="{BF80DBD9-1386-4064-B872-D60ECF5B3DDA}" srcOrd="0" destOrd="0" presId="urn:microsoft.com/office/officeart/2008/layout/LinedList"/>
    <dgm:cxn modelId="{39D21A52-C5EE-4D75-AAA1-54F8AFF18FC0}" type="presParOf" srcId="{1EAC7B1A-A983-48AA-A932-3B53DFEA2F2F}" destId="{0F5A1D66-5636-4AE5-AF6B-D19E3098CEEB}" srcOrd="1" destOrd="0" presId="urn:microsoft.com/office/officeart/2008/layout/LinedList"/>
    <dgm:cxn modelId="{A920696B-836A-487E-AAE4-45643EEFB504}" type="presParOf" srcId="{1EAC7B1A-A983-48AA-A932-3B53DFEA2F2F}" destId="{035F2BB7-2E9F-46A2-915D-F6A41597B782}" srcOrd="2" destOrd="0" presId="urn:microsoft.com/office/officeart/2008/layout/LinedList"/>
    <dgm:cxn modelId="{5EFD9735-3D76-4DCD-A600-92D0F56CC03A}" type="presParOf" srcId="{CFE4A5A2-3B56-4E48-BD48-ABDBC411378E}" destId="{2EE86001-42C3-4E1D-B1B4-9FFC33211EF9}" srcOrd="2" destOrd="0" presId="urn:microsoft.com/office/officeart/2008/layout/LinedList"/>
    <dgm:cxn modelId="{110940A4-2D00-4BC3-A5CC-78619BE9B404}" type="presParOf" srcId="{CFE4A5A2-3B56-4E48-BD48-ABDBC411378E}" destId="{0AD2B2F1-AC7E-470D-BBDF-42E7508C81EB}" srcOrd="3" destOrd="0" presId="urn:microsoft.com/office/officeart/2008/layout/LinedList"/>
    <dgm:cxn modelId="{2C6455D4-E4E7-47C2-9B41-2E657A5B7211}" type="presParOf" srcId="{237BB412-F537-45C0-84C5-C15A29BE88DD}" destId="{1194FFB7-31BD-45E2-9EC3-CEA87DD43B06}" srcOrd="4" destOrd="0" presId="urn:microsoft.com/office/officeart/2008/layout/LinedList"/>
    <dgm:cxn modelId="{A8EBA98A-DEB9-4D88-8ACD-420E65E70C02}" type="presParOf" srcId="{237BB412-F537-45C0-84C5-C15A29BE88DD}" destId="{D272A901-A308-46C9-8593-D8B94423998D}" srcOrd="5" destOrd="0" presId="urn:microsoft.com/office/officeart/2008/layout/LinedList"/>
    <dgm:cxn modelId="{776CB101-04C9-41B8-A45B-CE36E2082000}" type="presParOf" srcId="{D272A901-A308-46C9-8593-D8B94423998D}" destId="{012A610E-01F1-47A4-B6E7-C642BDC4114B}" srcOrd="0" destOrd="0" presId="urn:microsoft.com/office/officeart/2008/layout/LinedList"/>
    <dgm:cxn modelId="{53CCEDE8-5F1D-443E-9C94-12191253EA7B}" type="presParOf" srcId="{D272A901-A308-46C9-8593-D8B94423998D}" destId="{F1155873-4B69-47AF-8C82-C0D283B05421}" srcOrd="1" destOrd="0" presId="urn:microsoft.com/office/officeart/2008/layout/LinedList"/>
    <dgm:cxn modelId="{742948DE-7224-409F-98B6-B0F8F97DB9E5}" type="presParOf" srcId="{F1155873-4B69-47AF-8C82-C0D283B05421}" destId="{952BCCAD-82D4-445C-876C-EE095E628BCD}" srcOrd="0" destOrd="0" presId="urn:microsoft.com/office/officeart/2008/layout/LinedList"/>
    <dgm:cxn modelId="{0D22199E-D520-49C5-9F9A-DA6D573076A5}" type="presParOf" srcId="{F1155873-4B69-47AF-8C82-C0D283B05421}" destId="{B06E6DE3-7397-4165-BDB7-58C8880F4B74}" srcOrd="1" destOrd="0" presId="urn:microsoft.com/office/officeart/2008/layout/LinedList"/>
    <dgm:cxn modelId="{F224F38B-18A8-4D2E-9CC2-ECD0E34F5CA5}" type="presParOf" srcId="{B06E6DE3-7397-4165-BDB7-58C8880F4B74}" destId="{55E0DFBD-6022-4CD7-ABBE-89A01FD78F96}" srcOrd="0" destOrd="0" presId="urn:microsoft.com/office/officeart/2008/layout/LinedList"/>
    <dgm:cxn modelId="{7446B94D-3B5A-426C-8107-FD1FD5E62638}" type="presParOf" srcId="{B06E6DE3-7397-4165-BDB7-58C8880F4B74}" destId="{B221210C-A8C1-43A5-B513-5B3D6725E00E}" srcOrd="1" destOrd="0" presId="urn:microsoft.com/office/officeart/2008/layout/LinedList"/>
    <dgm:cxn modelId="{E963EAF2-3993-401A-A9C5-706F596CDFC5}" type="presParOf" srcId="{B06E6DE3-7397-4165-BDB7-58C8880F4B74}" destId="{A1C37173-5C1B-44BF-9431-224B77AD0B52}" srcOrd="2" destOrd="0" presId="urn:microsoft.com/office/officeart/2008/layout/LinedList"/>
    <dgm:cxn modelId="{68E34BCA-88CB-4340-B413-C87974C534FF}" type="presParOf" srcId="{F1155873-4B69-47AF-8C82-C0D283B05421}" destId="{68FA9984-0E04-48C1-B5BF-C75182DEECC3}" srcOrd="2" destOrd="0" presId="urn:microsoft.com/office/officeart/2008/layout/LinedList"/>
    <dgm:cxn modelId="{C396918C-954A-4829-B8ED-D50CE867F46C}" type="presParOf" srcId="{F1155873-4B69-47AF-8C82-C0D283B05421}" destId="{D8DE2294-46AF-4F1D-9DA3-09CC0ADBD57F}" srcOrd="3" destOrd="0" presId="urn:microsoft.com/office/officeart/2008/layout/LinedList"/>
    <dgm:cxn modelId="{D9A83AC5-7E16-4A18-98B5-BF6985C3AA3A}" type="presParOf" srcId="{F1155873-4B69-47AF-8C82-C0D283B05421}" destId="{4446122F-7E10-4113-A06D-01BC0B9B90BA}" srcOrd="4" destOrd="0" presId="urn:microsoft.com/office/officeart/2008/layout/LinedList"/>
    <dgm:cxn modelId="{5701A9B5-9934-46F0-8C9F-DCDBAA653143}" type="presParOf" srcId="{4446122F-7E10-4113-A06D-01BC0B9B90BA}" destId="{BA78C9EA-63D2-45B2-ABC8-11D5863E7D30}" srcOrd="0" destOrd="0" presId="urn:microsoft.com/office/officeart/2008/layout/LinedList"/>
    <dgm:cxn modelId="{6A9CFB73-2FEF-4EC0-B500-03E7AA84877B}" type="presParOf" srcId="{4446122F-7E10-4113-A06D-01BC0B9B90BA}" destId="{70974481-0526-45FC-AC8E-CB7AF738E826}" srcOrd="1" destOrd="0" presId="urn:microsoft.com/office/officeart/2008/layout/LinedList"/>
    <dgm:cxn modelId="{B6D4145D-26B9-4378-9393-1025A40BE195}" type="presParOf" srcId="{4446122F-7E10-4113-A06D-01BC0B9B90BA}" destId="{8F6929CA-F091-41B9-AA96-5C94E44E32A2}" srcOrd="2" destOrd="0" presId="urn:microsoft.com/office/officeart/2008/layout/LinedList"/>
    <dgm:cxn modelId="{7DF82001-35D3-45C2-B77E-769A3E0693F6}" type="presParOf" srcId="{F1155873-4B69-47AF-8C82-C0D283B05421}" destId="{B56A7619-DF50-4882-B158-9966F519E235}" srcOrd="5" destOrd="0" presId="urn:microsoft.com/office/officeart/2008/layout/LinedList"/>
    <dgm:cxn modelId="{4FC87E73-FFA4-4B82-A33C-EA1F2935DBAD}" type="presParOf" srcId="{F1155873-4B69-47AF-8C82-C0D283B05421}" destId="{3C0FE6C2-70AB-423F-9EF9-6572D5C34DDB}" srcOrd="6" destOrd="0" presId="urn:microsoft.com/office/officeart/2008/layout/LinedList"/>
    <dgm:cxn modelId="{1FD984FD-3E91-47EA-B34A-A5947E11650C}" type="presParOf" srcId="{F1155873-4B69-47AF-8C82-C0D283B05421}" destId="{FF43FA38-37E7-4617-BFB0-0D8233A89E55}" srcOrd="7" destOrd="0" presId="urn:microsoft.com/office/officeart/2008/layout/LinedList"/>
    <dgm:cxn modelId="{638522F5-3D80-407A-8743-7E59291B9B33}" type="presParOf" srcId="{FF43FA38-37E7-4617-BFB0-0D8233A89E55}" destId="{84846C62-2B41-49C0-98BE-F4A805957D6A}" srcOrd="0" destOrd="0" presId="urn:microsoft.com/office/officeart/2008/layout/LinedList"/>
    <dgm:cxn modelId="{E8B8CA60-6488-49F1-BB85-7D4F82AF198F}" type="presParOf" srcId="{FF43FA38-37E7-4617-BFB0-0D8233A89E55}" destId="{7475E3BD-0E81-4465-BB19-F3EA11F76289}" srcOrd="1" destOrd="0" presId="urn:microsoft.com/office/officeart/2008/layout/LinedList"/>
    <dgm:cxn modelId="{A8AC4058-B760-4F82-B280-5816287F32C3}" type="presParOf" srcId="{FF43FA38-37E7-4617-BFB0-0D8233A89E55}" destId="{9244F9F1-38F3-4EDC-A023-8EC9DA372051}" srcOrd="2" destOrd="0" presId="urn:microsoft.com/office/officeart/2008/layout/LinedList"/>
    <dgm:cxn modelId="{F824934A-1A0C-4688-8635-CDFD48828AB4}" type="presParOf" srcId="{F1155873-4B69-47AF-8C82-C0D283B05421}" destId="{935AD0BE-883C-4B6C-B794-ED4CFF16B4A3}" srcOrd="8" destOrd="0" presId="urn:microsoft.com/office/officeart/2008/layout/LinedList"/>
    <dgm:cxn modelId="{520FD015-6373-4FD0-8447-92B087DDAD38}" type="presParOf" srcId="{F1155873-4B69-47AF-8C82-C0D283B05421}" destId="{FE9C1CA0-E1C6-4858-BA43-0079878B8FD4}" srcOrd="9" destOrd="0" presId="urn:microsoft.com/office/officeart/2008/layout/LinedList"/>
    <dgm:cxn modelId="{E7DD4A1D-FBD1-4EB8-828B-CBA262C1EDFD}" type="presParOf" srcId="{F1155873-4B69-47AF-8C82-C0D283B05421}" destId="{DD1AAD31-7E1C-47FD-8E57-B3CEB531C8E2}" srcOrd="10" destOrd="0" presId="urn:microsoft.com/office/officeart/2008/layout/LinedList"/>
    <dgm:cxn modelId="{2CAD5121-4D51-4E87-AE5C-644D3298D22A}" type="presParOf" srcId="{DD1AAD31-7E1C-47FD-8E57-B3CEB531C8E2}" destId="{F8AE63D1-F8EC-40EE-843E-C213ED81EDB8}" srcOrd="0" destOrd="0" presId="urn:microsoft.com/office/officeart/2008/layout/LinedList"/>
    <dgm:cxn modelId="{1257B43B-C37B-4E29-BE4A-C0CC4D6C4A3D}" type="presParOf" srcId="{DD1AAD31-7E1C-47FD-8E57-B3CEB531C8E2}" destId="{75138E77-3333-4365-90DF-EC0ECBA66162}" srcOrd="1" destOrd="0" presId="urn:microsoft.com/office/officeart/2008/layout/LinedList"/>
    <dgm:cxn modelId="{04C931B9-B53E-45AD-9FDF-34166DC04DBA}" type="presParOf" srcId="{DD1AAD31-7E1C-47FD-8E57-B3CEB531C8E2}" destId="{11EE6B4B-71C0-47CB-978B-BC09286AE73A}" srcOrd="2" destOrd="0" presId="urn:microsoft.com/office/officeart/2008/layout/LinedList"/>
    <dgm:cxn modelId="{3C97B391-B168-42FB-9EF9-E12DA7A31437}" type="presParOf" srcId="{F1155873-4B69-47AF-8C82-C0D283B05421}" destId="{C578986E-F58F-479B-B188-9256B154626B}" srcOrd="11" destOrd="0" presId="urn:microsoft.com/office/officeart/2008/layout/LinedList"/>
    <dgm:cxn modelId="{1B6F21D2-EE4F-42E4-8AAD-7949863B937A}" type="presParOf" srcId="{F1155873-4B69-47AF-8C82-C0D283B05421}" destId="{4FC02847-F1CD-4189-A4C3-DAD222682A23}" srcOrd="12"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7988006-BCAC-4FAC-8FDC-4E35C4189BE0}" type="doc">
      <dgm:prSet loTypeId="urn:microsoft.com/office/officeart/2005/8/layout/default" loCatId="list" qsTypeId="urn:microsoft.com/office/officeart/2005/8/quickstyle/simple4" qsCatId="simple" csTypeId="urn:microsoft.com/office/officeart/2005/8/colors/accent1_2" csCatId="accent1" phldr="1"/>
      <dgm:spPr/>
      <dgm:t>
        <a:bodyPr/>
        <a:lstStyle/>
        <a:p>
          <a:endParaRPr lang="en-US"/>
        </a:p>
      </dgm:t>
    </dgm:pt>
    <dgm:pt modelId="{9B4C329B-115E-420E-ABBB-92180B955A7A}">
      <dgm:prSet custT="1"/>
      <dgm:spPr/>
      <dgm:t>
        <a:bodyPr/>
        <a:lstStyle/>
        <a:p>
          <a:r>
            <a:rPr lang="en-US" sz="1800" dirty="0"/>
            <a:t>Is in the format of contoso.onmicrosoft.com</a:t>
          </a:r>
        </a:p>
      </dgm:t>
    </dgm:pt>
    <dgm:pt modelId="{74363B0B-AC5C-4850-B1DE-E04C33CE6771}" type="parTrans" cxnId="{E843F85E-C69E-4971-AC1F-B2903407C735}">
      <dgm:prSet/>
      <dgm:spPr/>
      <dgm:t>
        <a:bodyPr/>
        <a:lstStyle/>
        <a:p>
          <a:endParaRPr lang="en-US" sz="1800"/>
        </a:p>
      </dgm:t>
    </dgm:pt>
    <dgm:pt modelId="{FA52F9E2-5E15-4C8C-80A5-13F92311E26F}" type="sibTrans" cxnId="{E843F85E-C69E-4971-AC1F-B2903407C735}">
      <dgm:prSet/>
      <dgm:spPr/>
      <dgm:t>
        <a:bodyPr/>
        <a:lstStyle/>
        <a:p>
          <a:endParaRPr lang="en-US" sz="1800"/>
        </a:p>
      </dgm:t>
    </dgm:pt>
    <dgm:pt modelId="{FCF5F998-AFC8-4B11-A5A6-D21DD6467D3F}">
      <dgm:prSet custT="1"/>
      <dgm:spPr/>
      <dgm:t>
        <a:bodyPr/>
        <a:lstStyle/>
        <a:p>
          <a:r>
            <a:rPr lang="en-US" sz="1800"/>
            <a:t>Created automatically and assigned to the first user at sign up</a:t>
          </a:r>
        </a:p>
      </dgm:t>
    </dgm:pt>
    <dgm:pt modelId="{3A570AB7-0DB6-4EE2-9EE9-185C6E7E09EF}" type="parTrans" cxnId="{5CFF2206-4C2B-411E-A7F4-3B51C8BB5F89}">
      <dgm:prSet/>
      <dgm:spPr/>
      <dgm:t>
        <a:bodyPr/>
        <a:lstStyle/>
        <a:p>
          <a:endParaRPr lang="en-US" sz="1800"/>
        </a:p>
      </dgm:t>
    </dgm:pt>
    <dgm:pt modelId="{F71460D9-7BBC-4DAC-8085-04320C995282}" type="sibTrans" cxnId="{5CFF2206-4C2B-411E-A7F4-3B51C8BB5F89}">
      <dgm:prSet/>
      <dgm:spPr/>
      <dgm:t>
        <a:bodyPr/>
        <a:lstStyle/>
        <a:p>
          <a:endParaRPr lang="en-US" sz="1800"/>
        </a:p>
      </dgm:t>
    </dgm:pt>
    <dgm:pt modelId="{2376CA77-9B96-4FD8-BF44-FFE061AFE23D}">
      <dgm:prSet custT="1"/>
      <dgm:spPr/>
      <dgm:t>
        <a:bodyPr/>
        <a:lstStyle/>
        <a:p>
          <a:r>
            <a:rPr lang="en-US" sz="1800"/>
            <a:t>Fully functional for Simple Mail Transport Protocol (SMTP) and Session Initiation Protocol (SIP) addresses out-of-the-box</a:t>
          </a:r>
        </a:p>
      </dgm:t>
    </dgm:pt>
    <dgm:pt modelId="{60230C8C-A042-4142-A2A8-772C03C789EF}" type="parTrans" cxnId="{3C98BBBD-B413-4DF3-885A-E93447B0A356}">
      <dgm:prSet/>
      <dgm:spPr/>
      <dgm:t>
        <a:bodyPr/>
        <a:lstStyle/>
        <a:p>
          <a:endParaRPr lang="en-US" sz="1800"/>
        </a:p>
      </dgm:t>
    </dgm:pt>
    <dgm:pt modelId="{E5893637-7DBD-4299-A0FA-3A197D6441C2}" type="sibTrans" cxnId="{3C98BBBD-B413-4DF3-885A-E93447B0A356}">
      <dgm:prSet/>
      <dgm:spPr/>
      <dgm:t>
        <a:bodyPr/>
        <a:lstStyle/>
        <a:p>
          <a:endParaRPr lang="en-US" sz="1800"/>
        </a:p>
      </dgm:t>
    </dgm:pt>
    <dgm:pt modelId="{B900D3D2-C4C0-4265-8F34-DBB9A7ED9C84}">
      <dgm:prSet custT="1"/>
      <dgm:spPr/>
      <dgm:t>
        <a:bodyPr/>
        <a:lstStyle/>
        <a:p>
          <a:r>
            <a:rPr lang="en-US" sz="1800"/>
            <a:t>Enables service usage right away</a:t>
          </a:r>
        </a:p>
      </dgm:t>
    </dgm:pt>
    <dgm:pt modelId="{3200626F-505C-436D-AC99-50B243619774}" type="parTrans" cxnId="{D0794864-0F28-4273-9EB2-777429D82972}">
      <dgm:prSet/>
      <dgm:spPr/>
      <dgm:t>
        <a:bodyPr/>
        <a:lstStyle/>
        <a:p>
          <a:endParaRPr lang="en-US" sz="1800"/>
        </a:p>
      </dgm:t>
    </dgm:pt>
    <dgm:pt modelId="{C2825705-2B01-4B6A-96F5-7E33E156253B}" type="sibTrans" cxnId="{D0794864-0F28-4273-9EB2-777429D82972}">
      <dgm:prSet/>
      <dgm:spPr/>
      <dgm:t>
        <a:bodyPr/>
        <a:lstStyle/>
        <a:p>
          <a:endParaRPr lang="en-US" sz="1800"/>
        </a:p>
      </dgm:t>
    </dgm:pt>
    <dgm:pt modelId="{DE490A3B-B21C-41F5-B1FE-2851FC79CD3A}">
      <dgm:prSet custT="1"/>
      <dgm:spPr/>
      <dgm:t>
        <a:bodyPr/>
        <a:lstStyle/>
        <a:p>
          <a:r>
            <a:rPr lang="en-US" sz="1800" dirty="0"/>
            <a:t>Cannot be removed or renamed*</a:t>
          </a:r>
        </a:p>
      </dgm:t>
    </dgm:pt>
    <dgm:pt modelId="{5D3E5FDC-3E54-4C83-8C44-4E1CA8DFF1D6}" type="parTrans" cxnId="{3FF6EA72-980B-449C-A45C-64913B1EF32A}">
      <dgm:prSet/>
      <dgm:spPr/>
      <dgm:t>
        <a:bodyPr/>
        <a:lstStyle/>
        <a:p>
          <a:endParaRPr lang="en-US" sz="1800"/>
        </a:p>
      </dgm:t>
    </dgm:pt>
    <dgm:pt modelId="{9CE1AB7A-82E5-473C-B469-CBF452CB898F}" type="sibTrans" cxnId="{3FF6EA72-980B-449C-A45C-64913B1EF32A}">
      <dgm:prSet/>
      <dgm:spPr/>
      <dgm:t>
        <a:bodyPr/>
        <a:lstStyle/>
        <a:p>
          <a:endParaRPr lang="en-US" sz="1800"/>
        </a:p>
      </dgm:t>
    </dgm:pt>
    <dgm:pt modelId="{5B8AA6EA-5680-4F64-95F6-016E573E9276}">
      <dgm:prSet custT="1"/>
      <dgm:spPr/>
      <dgm:t>
        <a:bodyPr/>
        <a:lstStyle/>
        <a:p>
          <a:r>
            <a:rPr lang="en-US" sz="1800" dirty="0"/>
            <a:t>No requirement to use it if adding your own domain </a:t>
          </a:r>
        </a:p>
      </dgm:t>
    </dgm:pt>
    <dgm:pt modelId="{BAF83CC2-0D97-45B8-B8C6-9CCDE08F7332}" type="parTrans" cxnId="{3CB36C9A-5658-43AD-8B07-4089070AFC8C}">
      <dgm:prSet/>
      <dgm:spPr/>
      <dgm:t>
        <a:bodyPr/>
        <a:lstStyle/>
        <a:p>
          <a:endParaRPr lang="en-US" sz="1800"/>
        </a:p>
      </dgm:t>
    </dgm:pt>
    <dgm:pt modelId="{259E86F4-887D-497C-B0A1-7F2C9C083020}" type="sibTrans" cxnId="{3CB36C9A-5658-43AD-8B07-4089070AFC8C}">
      <dgm:prSet/>
      <dgm:spPr/>
      <dgm:t>
        <a:bodyPr/>
        <a:lstStyle/>
        <a:p>
          <a:endParaRPr lang="en-US" sz="1800"/>
        </a:p>
      </dgm:t>
    </dgm:pt>
    <dgm:pt modelId="{494277AB-4527-4AAB-A853-8E2222C8346F}" type="pres">
      <dgm:prSet presAssocID="{77988006-BCAC-4FAC-8FDC-4E35C4189BE0}" presName="diagram" presStyleCnt="0">
        <dgm:presLayoutVars>
          <dgm:dir/>
          <dgm:resizeHandles val="exact"/>
        </dgm:presLayoutVars>
      </dgm:prSet>
      <dgm:spPr/>
    </dgm:pt>
    <dgm:pt modelId="{83D12224-D479-4137-99A9-7FA73233517B}" type="pres">
      <dgm:prSet presAssocID="{9B4C329B-115E-420E-ABBB-92180B955A7A}" presName="node" presStyleLbl="node1" presStyleIdx="0" presStyleCnt="6">
        <dgm:presLayoutVars>
          <dgm:bulletEnabled val="1"/>
        </dgm:presLayoutVars>
      </dgm:prSet>
      <dgm:spPr/>
    </dgm:pt>
    <dgm:pt modelId="{7BA13DF6-2D23-4DEF-B5A5-1228C1343817}" type="pres">
      <dgm:prSet presAssocID="{FA52F9E2-5E15-4C8C-80A5-13F92311E26F}" presName="sibTrans" presStyleCnt="0"/>
      <dgm:spPr/>
    </dgm:pt>
    <dgm:pt modelId="{1D3470B7-B9A3-41E7-A31C-CB0D34C37B60}" type="pres">
      <dgm:prSet presAssocID="{FCF5F998-AFC8-4B11-A5A6-D21DD6467D3F}" presName="node" presStyleLbl="node1" presStyleIdx="1" presStyleCnt="6">
        <dgm:presLayoutVars>
          <dgm:bulletEnabled val="1"/>
        </dgm:presLayoutVars>
      </dgm:prSet>
      <dgm:spPr/>
    </dgm:pt>
    <dgm:pt modelId="{CD179F0D-3BCD-4037-B87E-E66BB0AFB07E}" type="pres">
      <dgm:prSet presAssocID="{F71460D9-7BBC-4DAC-8085-04320C995282}" presName="sibTrans" presStyleCnt="0"/>
      <dgm:spPr/>
    </dgm:pt>
    <dgm:pt modelId="{9D500214-811C-4501-9362-2AA3075195BE}" type="pres">
      <dgm:prSet presAssocID="{2376CA77-9B96-4FD8-BF44-FFE061AFE23D}" presName="node" presStyleLbl="node1" presStyleIdx="2" presStyleCnt="6">
        <dgm:presLayoutVars>
          <dgm:bulletEnabled val="1"/>
        </dgm:presLayoutVars>
      </dgm:prSet>
      <dgm:spPr/>
    </dgm:pt>
    <dgm:pt modelId="{46A1F0B3-EA8E-4A5A-A53A-2DAD53C04670}" type="pres">
      <dgm:prSet presAssocID="{E5893637-7DBD-4299-A0FA-3A197D6441C2}" presName="sibTrans" presStyleCnt="0"/>
      <dgm:spPr/>
    </dgm:pt>
    <dgm:pt modelId="{B177D658-C4AE-4274-8AA8-D2750336C87E}" type="pres">
      <dgm:prSet presAssocID="{B900D3D2-C4C0-4265-8F34-DBB9A7ED9C84}" presName="node" presStyleLbl="node1" presStyleIdx="3" presStyleCnt="6">
        <dgm:presLayoutVars>
          <dgm:bulletEnabled val="1"/>
        </dgm:presLayoutVars>
      </dgm:prSet>
      <dgm:spPr/>
    </dgm:pt>
    <dgm:pt modelId="{DBD25DED-CE56-499A-BEEE-F8E97E63FBFB}" type="pres">
      <dgm:prSet presAssocID="{C2825705-2B01-4B6A-96F5-7E33E156253B}" presName="sibTrans" presStyleCnt="0"/>
      <dgm:spPr/>
    </dgm:pt>
    <dgm:pt modelId="{5E3AD0E5-0740-4687-A842-BA58425FC58B}" type="pres">
      <dgm:prSet presAssocID="{DE490A3B-B21C-41F5-B1FE-2851FC79CD3A}" presName="node" presStyleLbl="node1" presStyleIdx="4" presStyleCnt="6">
        <dgm:presLayoutVars>
          <dgm:bulletEnabled val="1"/>
        </dgm:presLayoutVars>
      </dgm:prSet>
      <dgm:spPr/>
    </dgm:pt>
    <dgm:pt modelId="{A6C59C55-C633-4BB8-BB7F-2565F30C6CDE}" type="pres">
      <dgm:prSet presAssocID="{9CE1AB7A-82E5-473C-B469-CBF452CB898F}" presName="sibTrans" presStyleCnt="0"/>
      <dgm:spPr/>
    </dgm:pt>
    <dgm:pt modelId="{99FB065D-93E0-4B18-8E72-37B338D5F5EA}" type="pres">
      <dgm:prSet presAssocID="{5B8AA6EA-5680-4F64-95F6-016E573E9276}" presName="node" presStyleLbl="node1" presStyleIdx="5" presStyleCnt="6">
        <dgm:presLayoutVars>
          <dgm:bulletEnabled val="1"/>
        </dgm:presLayoutVars>
      </dgm:prSet>
      <dgm:spPr/>
    </dgm:pt>
  </dgm:ptLst>
  <dgm:cxnLst>
    <dgm:cxn modelId="{5CFF2206-4C2B-411E-A7F4-3B51C8BB5F89}" srcId="{77988006-BCAC-4FAC-8FDC-4E35C4189BE0}" destId="{FCF5F998-AFC8-4B11-A5A6-D21DD6467D3F}" srcOrd="1" destOrd="0" parTransId="{3A570AB7-0DB6-4EE2-9EE9-185C6E7E09EF}" sibTransId="{F71460D9-7BBC-4DAC-8085-04320C995282}"/>
    <dgm:cxn modelId="{898C3424-7754-41A4-B99C-0167C1D0437D}" type="presOf" srcId="{5B8AA6EA-5680-4F64-95F6-016E573E9276}" destId="{99FB065D-93E0-4B18-8E72-37B338D5F5EA}" srcOrd="0" destOrd="0" presId="urn:microsoft.com/office/officeart/2005/8/layout/default"/>
    <dgm:cxn modelId="{65DE2334-135D-4F17-A395-8E2ADC4B174A}" type="presOf" srcId="{B900D3D2-C4C0-4265-8F34-DBB9A7ED9C84}" destId="{B177D658-C4AE-4274-8AA8-D2750336C87E}" srcOrd="0" destOrd="0" presId="urn:microsoft.com/office/officeart/2005/8/layout/default"/>
    <dgm:cxn modelId="{5FE4F535-8C8D-4461-AA6C-1FEA4E6DC564}" type="presOf" srcId="{DE490A3B-B21C-41F5-B1FE-2851FC79CD3A}" destId="{5E3AD0E5-0740-4687-A842-BA58425FC58B}" srcOrd="0" destOrd="0" presId="urn:microsoft.com/office/officeart/2005/8/layout/default"/>
    <dgm:cxn modelId="{E843F85E-C69E-4971-AC1F-B2903407C735}" srcId="{77988006-BCAC-4FAC-8FDC-4E35C4189BE0}" destId="{9B4C329B-115E-420E-ABBB-92180B955A7A}" srcOrd="0" destOrd="0" parTransId="{74363B0B-AC5C-4850-B1DE-E04C33CE6771}" sibTransId="{FA52F9E2-5E15-4C8C-80A5-13F92311E26F}"/>
    <dgm:cxn modelId="{1F77B741-7879-4BE4-9709-499F61832123}" type="presOf" srcId="{FCF5F998-AFC8-4B11-A5A6-D21DD6467D3F}" destId="{1D3470B7-B9A3-41E7-A31C-CB0D34C37B60}" srcOrd="0" destOrd="0" presId="urn:microsoft.com/office/officeart/2005/8/layout/default"/>
    <dgm:cxn modelId="{D0794864-0F28-4273-9EB2-777429D82972}" srcId="{77988006-BCAC-4FAC-8FDC-4E35C4189BE0}" destId="{B900D3D2-C4C0-4265-8F34-DBB9A7ED9C84}" srcOrd="3" destOrd="0" parTransId="{3200626F-505C-436D-AC99-50B243619774}" sibTransId="{C2825705-2B01-4B6A-96F5-7E33E156253B}"/>
    <dgm:cxn modelId="{70113F4D-7917-4BE4-9E55-548EE2D0BA7C}" type="presOf" srcId="{2376CA77-9B96-4FD8-BF44-FFE061AFE23D}" destId="{9D500214-811C-4501-9362-2AA3075195BE}" srcOrd="0" destOrd="0" presId="urn:microsoft.com/office/officeart/2005/8/layout/default"/>
    <dgm:cxn modelId="{3FF6EA72-980B-449C-A45C-64913B1EF32A}" srcId="{77988006-BCAC-4FAC-8FDC-4E35C4189BE0}" destId="{DE490A3B-B21C-41F5-B1FE-2851FC79CD3A}" srcOrd="4" destOrd="0" parTransId="{5D3E5FDC-3E54-4C83-8C44-4E1CA8DFF1D6}" sibTransId="{9CE1AB7A-82E5-473C-B469-CBF452CB898F}"/>
    <dgm:cxn modelId="{3CB36C9A-5658-43AD-8B07-4089070AFC8C}" srcId="{77988006-BCAC-4FAC-8FDC-4E35C4189BE0}" destId="{5B8AA6EA-5680-4F64-95F6-016E573E9276}" srcOrd="5" destOrd="0" parTransId="{BAF83CC2-0D97-45B8-B8C6-9CCDE08F7332}" sibTransId="{259E86F4-887D-497C-B0A1-7F2C9C083020}"/>
    <dgm:cxn modelId="{ADEFC49E-4CAF-43F5-943E-72DE1BAA6325}" type="presOf" srcId="{77988006-BCAC-4FAC-8FDC-4E35C4189BE0}" destId="{494277AB-4527-4AAB-A853-8E2222C8346F}" srcOrd="0" destOrd="0" presId="urn:microsoft.com/office/officeart/2005/8/layout/default"/>
    <dgm:cxn modelId="{85A22FAC-FEF4-4F85-B1AD-B4733ADEA372}" type="presOf" srcId="{9B4C329B-115E-420E-ABBB-92180B955A7A}" destId="{83D12224-D479-4137-99A9-7FA73233517B}" srcOrd="0" destOrd="0" presId="urn:microsoft.com/office/officeart/2005/8/layout/default"/>
    <dgm:cxn modelId="{3C98BBBD-B413-4DF3-885A-E93447B0A356}" srcId="{77988006-BCAC-4FAC-8FDC-4E35C4189BE0}" destId="{2376CA77-9B96-4FD8-BF44-FFE061AFE23D}" srcOrd="2" destOrd="0" parTransId="{60230C8C-A042-4142-A2A8-772C03C789EF}" sibTransId="{E5893637-7DBD-4299-A0FA-3A197D6441C2}"/>
    <dgm:cxn modelId="{4444B3AD-E610-4B30-BF2D-CD45FB3C760A}" type="presParOf" srcId="{494277AB-4527-4AAB-A853-8E2222C8346F}" destId="{83D12224-D479-4137-99A9-7FA73233517B}" srcOrd="0" destOrd="0" presId="urn:microsoft.com/office/officeart/2005/8/layout/default"/>
    <dgm:cxn modelId="{6A14CA8A-B6C4-4A0F-9B73-0ADB8E91FB33}" type="presParOf" srcId="{494277AB-4527-4AAB-A853-8E2222C8346F}" destId="{7BA13DF6-2D23-4DEF-B5A5-1228C1343817}" srcOrd="1" destOrd="0" presId="urn:microsoft.com/office/officeart/2005/8/layout/default"/>
    <dgm:cxn modelId="{D9D2D59E-4B8C-4657-8500-9F527C89D7AE}" type="presParOf" srcId="{494277AB-4527-4AAB-A853-8E2222C8346F}" destId="{1D3470B7-B9A3-41E7-A31C-CB0D34C37B60}" srcOrd="2" destOrd="0" presId="urn:microsoft.com/office/officeart/2005/8/layout/default"/>
    <dgm:cxn modelId="{0167DBD0-9C29-4788-AB6C-6E5D8E824B14}" type="presParOf" srcId="{494277AB-4527-4AAB-A853-8E2222C8346F}" destId="{CD179F0D-3BCD-4037-B87E-E66BB0AFB07E}" srcOrd="3" destOrd="0" presId="urn:microsoft.com/office/officeart/2005/8/layout/default"/>
    <dgm:cxn modelId="{1E918717-A2EB-41D0-B7FA-02C2C98AEB7D}" type="presParOf" srcId="{494277AB-4527-4AAB-A853-8E2222C8346F}" destId="{9D500214-811C-4501-9362-2AA3075195BE}" srcOrd="4" destOrd="0" presId="urn:microsoft.com/office/officeart/2005/8/layout/default"/>
    <dgm:cxn modelId="{123E2171-5FDA-4C12-BCA4-C61C427EE1F5}" type="presParOf" srcId="{494277AB-4527-4AAB-A853-8E2222C8346F}" destId="{46A1F0B3-EA8E-4A5A-A53A-2DAD53C04670}" srcOrd="5" destOrd="0" presId="urn:microsoft.com/office/officeart/2005/8/layout/default"/>
    <dgm:cxn modelId="{DB946B4D-5138-41C0-B82A-26A8FEF9A80D}" type="presParOf" srcId="{494277AB-4527-4AAB-A853-8E2222C8346F}" destId="{B177D658-C4AE-4274-8AA8-D2750336C87E}" srcOrd="6" destOrd="0" presId="urn:microsoft.com/office/officeart/2005/8/layout/default"/>
    <dgm:cxn modelId="{387691EC-C509-427C-88AA-F0562015F3DC}" type="presParOf" srcId="{494277AB-4527-4AAB-A853-8E2222C8346F}" destId="{DBD25DED-CE56-499A-BEEE-F8E97E63FBFB}" srcOrd="7" destOrd="0" presId="urn:microsoft.com/office/officeart/2005/8/layout/default"/>
    <dgm:cxn modelId="{A7C4E542-EBC6-48AE-907C-F9053B7DB6FD}" type="presParOf" srcId="{494277AB-4527-4AAB-A853-8E2222C8346F}" destId="{5E3AD0E5-0740-4687-A842-BA58425FC58B}" srcOrd="8" destOrd="0" presId="urn:microsoft.com/office/officeart/2005/8/layout/default"/>
    <dgm:cxn modelId="{B3C683E5-F756-4676-96D1-6D9107127405}" type="presParOf" srcId="{494277AB-4527-4AAB-A853-8E2222C8346F}" destId="{A6C59C55-C633-4BB8-BB7F-2565F30C6CDE}" srcOrd="9" destOrd="0" presId="urn:microsoft.com/office/officeart/2005/8/layout/default"/>
    <dgm:cxn modelId="{32C4AB2F-546B-4F5C-B161-953FBCC34F33}" type="presParOf" srcId="{494277AB-4527-4AAB-A853-8E2222C8346F}" destId="{99FB065D-93E0-4B18-8E72-37B338D5F5EA}"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2CCDCB4-4E44-459F-977D-AA8B7AF72B16}" type="doc">
      <dgm:prSet loTypeId="urn:microsoft.com/office/officeart/2005/8/layout/hList1" loCatId="list" qsTypeId="urn:microsoft.com/office/officeart/2005/8/quickstyle/simple1" qsCatId="simple" csTypeId="urn:microsoft.com/office/officeart/2005/8/colors/accent2_2" csCatId="accent2"/>
      <dgm:spPr/>
      <dgm:t>
        <a:bodyPr/>
        <a:lstStyle/>
        <a:p>
          <a:endParaRPr lang="en-US"/>
        </a:p>
      </dgm:t>
    </dgm:pt>
    <dgm:pt modelId="{099A2F79-8A4C-4444-A9D7-A04BE103613C}">
      <dgm:prSet custT="1"/>
      <dgm:spPr/>
      <dgm:t>
        <a:bodyPr/>
        <a:lstStyle/>
        <a:p>
          <a:r>
            <a:rPr lang="en-US" sz="2000" baseline="0" dirty="0"/>
            <a:t>Applies to user’s SMTP and SIP addresses</a:t>
          </a:r>
          <a:endParaRPr lang="en-US" sz="2000" dirty="0"/>
        </a:p>
      </dgm:t>
    </dgm:pt>
    <dgm:pt modelId="{B71C7543-9961-4F2B-BBC5-BB313930762A}" type="parTrans" cxnId="{9C4CF31F-46A1-47F2-861C-12D02D9BE0C6}">
      <dgm:prSet/>
      <dgm:spPr/>
      <dgm:t>
        <a:bodyPr/>
        <a:lstStyle/>
        <a:p>
          <a:endParaRPr lang="en-US" sz="3200"/>
        </a:p>
      </dgm:t>
    </dgm:pt>
    <dgm:pt modelId="{A5F78A15-5270-4548-9304-04F729AB7E2F}" type="sibTrans" cxnId="{9C4CF31F-46A1-47F2-861C-12D02D9BE0C6}">
      <dgm:prSet/>
      <dgm:spPr/>
      <dgm:t>
        <a:bodyPr/>
        <a:lstStyle/>
        <a:p>
          <a:endParaRPr lang="en-US" sz="3200"/>
        </a:p>
      </dgm:t>
    </dgm:pt>
    <dgm:pt modelId="{E8B6C79D-51B0-4B99-AAD7-C58E1DF0E80B}">
      <dgm:prSet custT="1"/>
      <dgm:spPr/>
      <dgm:t>
        <a:bodyPr/>
        <a:lstStyle/>
        <a:p>
          <a:r>
            <a:rPr lang="en-US" sz="2000" baseline="0" dirty="0"/>
            <a:t>For example: user@contoso.com instead of user@contoso.onmicrosoft.com</a:t>
          </a:r>
          <a:endParaRPr lang="en-US" sz="2000" dirty="0"/>
        </a:p>
      </dgm:t>
    </dgm:pt>
    <dgm:pt modelId="{22666EFD-CD7A-422E-BA47-21B67E33799B}" type="parTrans" cxnId="{F065656D-791A-471B-A73C-611F70ADB35A}">
      <dgm:prSet/>
      <dgm:spPr/>
      <dgm:t>
        <a:bodyPr/>
        <a:lstStyle/>
        <a:p>
          <a:endParaRPr lang="en-US" sz="3200"/>
        </a:p>
      </dgm:t>
    </dgm:pt>
    <dgm:pt modelId="{0FA2670B-2649-41A5-8E46-F4047AB05C5B}" type="sibTrans" cxnId="{F065656D-791A-471B-A73C-611F70ADB35A}">
      <dgm:prSet/>
      <dgm:spPr/>
      <dgm:t>
        <a:bodyPr/>
        <a:lstStyle/>
        <a:p>
          <a:endParaRPr lang="en-US" sz="3200"/>
        </a:p>
      </dgm:t>
    </dgm:pt>
    <dgm:pt modelId="{80425C95-D4B3-4AE0-B302-41C2B46D82CA}">
      <dgm:prSet custT="1"/>
      <dgm:spPr/>
      <dgm:t>
        <a:bodyPr/>
        <a:lstStyle/>
        <a:p>
          <a:r>
            <a:rPr lang="en-US" sz="2000" baseline="0"/>
            <a:t>Used for the Microsoft Outlook on the Web URL</a:t>
          </a:r>
          <a:endParaRPr lang="en-US" sz="2000"/>
        </a:p>
      </dgm:t>
    </dgm:pt>
    <dgm:pt modelId="{03F2DEEB-F384-4B5F-A409-A6B1CAF9C83A}" type="parTrans" cxnId="{57C5BB3C-3EAC-4172-AE23-D827740315E7}">
      <dgm:prSet/>
      <dgm:spPr/>
      <dgm:t>
        <a:bodyPr/>
        <a:lstStyle/>
        <a:p>
          <a:endParaRPr lang="en-US" sz="3200"/>
        </a:p>
      </dgm:t>
    </dgm:pt>
    <dgm:pt modelId="{9B2724CD-F7FF-4C91-86AA-2F1AF0317E03}" type="sibTrans" cxnId="{57C5BB3C-3EAC-4172-AE23-D827740315E7}">
      <dgm:prSet/>
      <dgm:spPr/>
      <dgm:t>
        <a:bodyPr/>
        <a:lstStyle/>
        <a:p>
          <a:endParaRPr lang="en-US" sz="3200"/>
        </a:p>
      </dgm:t>
    </dgm:pt>
    <dgm:pt modelId="{FA97BA53-620A-4D9A-8D5F-4369F411A814}">
      <dgm:prSet custT="1"/>
      <dgm:spPr/>
      <dgm:t>
        <a:bodyPr/>
        <a:lstStyle/>
        <a:p>
          <a:r>
            <a:rPr lang="en-US" sz="2000" baseline="0"/>
            <a:t>https://outlook.com/owa/contoso.com</a:t>
          </a:r>
          <a:endParaRPr lang="en-US" sz="2000"/>
        </a:p>
      </dgm:t>
    </dgm:pt>
    <dgm:pt modelId="{8BE6C962-3749-42EE-AA11-3721AD02BC38}" type="parTrans" cxnId="{B375703D-B25B-4F1A-BA52-063500474647}">
      <dgm:prSet/>
      <dgm:spPr/>
      <dgm:t>
        <a:bodyPr/>
        <a:lstStyle/>
        <a:p>
          <a:endParaRPr lang="en-US" sz="3200"/>
        </a:p>
      </dgm:t>
    </dgm:pt>
    <dgm:pt modelId="{35603EF4-0A20-4B44-89FC-E8D43FA3AA2B}" type="sibTrans" cxnId="{B375703D-B25B-4F1A-BA52-063500474647}">
      <dgm:prSet/>
      <dgm:spPr/>
      <dgm:t>
        <a:bodyPr/>
        <a:lstStyle/>
        <a:p>
          <a:endParaRPr lang="en-US" sz="3200"/>
        </a:p>
      </dgm:t>
    </dgm:pt>
    <dgm:pt modelId="{512DF0B8-CA6E-4C9F-844A-0735C1D8FF36}">
      <dgm:prSet custT="1"/>
      <dgm:spPr/>
      <dgm:t>
        <a:bodyPr/>
        <a:lstStyle/>
        <a:p>
          <a:r>
            <a:rPr lang="en-US" sz="2000" baseline="0"/>
            <a:t>Used as the user’s Microsoft Online Services ID credentials</a:t>
          </a:r>
          <a:endParaRPr lang="en-US" sz="2000"/>
        </a:p>
      </dgm:t>
    </dgm:pt>
    <dgm:pt modelId="{85513686-87CD-4190-A2F4-0BD5FB9015B7}" type="parTrans" cxnId="{30404F67-25A6-40E9-AEFA-5BFD6E53CC27}">
      <dgm:prSet/>
      <dgm:spPr/>
      <dgm:t>
        <a:bodyPr/>
        <a:lstStyle/>
        <a:p>
          <a:endParaRPr lang="en-US" sz="3200"/>
        </a:p>
      </dgm:t>
    </dgm:pt>
    <dgm:pt modelId="{500D15B1-AA0B-4196-A833-BAB0C2C21EBD}" type="sibTrans" cxnId="{30404F67-25A6-40E9-AEFA-5BFD6E53CC27}">
      <dgm:prSet/>
      <dgm:spPr/>
      <dgm:t>
        <a:bodyPr/>
        <a:lstStyle/>
        <a:p>
          <a:endParaRPr lang="en-US" sz="3200"/>
        </a:p>
      </dgm:t>
    </dgm:pt>
    <dgm:pt modelId="{B153F24A-E556-4AC2-A25A-1C4E7EF13829}" type="pres">
      <dgm:prSet presAssocID="{A2CCDCB4-4E44-459F-977D-AA8B7AF72B16}" presName="Name0" presStyleCnt="0">
        <dgm:presLayoutVars>
          <dgm:dir/>
          <dgm:animLvl val="lvl"/>
          <dgm:resizeHandles val="exact"/>
        </dgm:presLayoutVars>
      </dgm:prSet>
      <dgm:spPr/>
    </dgm:pt>
    <dgm:pt modelId="{D3F8C367-2CFA-415C-A7CA-7AE3FFFCCF1F}" type="pres">
      <dgm:prSet presAssocID="{099A2F79-8A4C-4444-A9D7-A04BE103613C}" presName="composite" presStyleCnt="0"/>
      <dgm:spPr/>
    </dgm:pt>
    <dgm:pt modelId="{F33DB3B0-A3B7-4113-99EC-704EE30E8C2F}" type="pres">
      <dgm:prSet presAssocID="{099A2F79-8A4C-4444-A9D7-A04BE103613C}" presName="parTx" presStyleLbl="alignNode1" presStyleIdx="0" presStyleCnt="3">
        <dgm:presLayoutVars>
          <dgm:chMax val="0"/>
          <dgm:chPref val="0"/>
          <dgm:bulletEnabled val="1"/>
        </dgm:presLayoutVars>
      </dgm:prSet>
      <dgm:spPr/>
    </dgm:pt>
    <dgm:pt modelId="{EC066722-50C4-40E0-AC91-70549800AFFA}" type="pres">
      <dgm:prSet presAssocID="{099A2F79-8A4C-4444-A9D7-A04BE103613C}" presName="desTx" presStyleLbl="alignAccFollowNode1" presStyleIdx="0" presStyleCnt="3">
        <dgm:presLayoutVars>
          <dgm:bulletEnabled val="1"/>
        </dgm:presLayoutVars>
      </dgm:prSet>
      <dgm:spPr/>
    </dgm:pt>
    <dgm:pt modelId="{E2265968-E8DA-404E-B37E-F2ED0D9CE907}" type="pres">
      <dgm:prSet presAssocID="{A5F78A15-5270-4548-9304-04F729AB7E2F}" presName="space" presStyleCnt="0"/>
      <dgm:spPr/>
    </dgm:pt>
    <dgm:pt modelId="{F3DCB77A-204C-485D-8476-F8E060D203FC}" type="pres">
      <dgm:prSet presAssocID="{80425C95-D4B3-4AE0-B302-41C2B46D82CA}" presName="composite" presStyleCnt="0"/>
      <dgm:spPr/>
    </dgm:pt>
    <dgm:pt modelId="{EC534D5D-EDD8-4B3A-B6B0-2BEF2A2B0CD0}" type="pres">
      <dgm:prSet presAssocID="{80425C95-D4B3-4AE0-B302-41C2B46D82CA}" presName="parTx" presStyleLbl="alignNode1" presStyleIdx="1" presStyleCnt="3">
        <dgm:presLayoutVars>
          <dgm:chMax val="0"/>
          <dgm:chPref val="0"/>
          <dgm:bulletEnabled val="1"/>
        </dgm:presLayoutVars>
      </dgm:prSet>
      <dgm:spPr/>
    </dgm:pt>
    <dgm:pt modelId="{7DFCC63D-4D70-4F46-B4B6-AB8A717153E6}" type="pres">
      <dgm:prSet presAssocID="{80425C95-D4B3-4AE0-B302-41C2B46D82CA}" presName="desTx" presStyleLbl="alignAccFollowNode1" presStyleIdx="1" presStyleCnt="3">
        <dgm:presLayoutVars>
          <dgm:bulletEnabled val="1"/>
        </dgm:presLayoutVars>
      </dgm:prSet>
      <dgm:spPr/>
    </dgm:pt>
    <dgm:pt modelId="{ED5A1D41-3D61-427D-BD04-9AD21F7A4918}" type="pres">
      <dgm:prSet presAssocID="{9B2724CD-F7FF-4C91-86AA-2F1AF0317E03}" presName="space" presStyleCnt="0"/>
      <dgm:spPr/>
    </dgm:pt>
    <dgm:pt modelId="{E1A91FC4-4FBA-4205-BDC2-5A98A516FEAC}" type="pres">
      <dgm:prSet presAssocID="{512DF0B8-CA6E-4C9F-844A-0735C1D8FF36}" presName="composite" presStyleCnt="0"/>
      <dgm:spPr/>
    </dgm:pt>
    <dgm:pt modelId="{614CE452-322D-4A1A-8BC7-F77D295F5AAA}" type="pres">
      <dgm:prSet presAssocID="{512DF0B8-CA6E-4C9F-844A-0735C1D8FF36}" presName="parTx" presStyleLbl="alignNode1" presStyleIdx="2" presStyleCnt="3">
        <dgm:presLayoutVars>
          <dgm:chMax val="0"/>
          <dgm:chPref val="0"/>
          <dgm:bulletEnabled val="1"/>
        </dgm:presLayoutVars>
      </dgm:prSet>
      <dgm:spPr/>
    </dgm:pt>
    <dgm:pt modelId="{88224CC8-398E-4EE3-B09F-7A524DA23522}" type="pres">
      <dgm:prSet presAssocID="{512DF0B8-CA6E-4C9F-844A-0735C1D8FF36}" presName="desTx" presStyleLbl="alignAccFollowNode1" presStyleIdx="2" presStyleCnt="3">
        <dgm:presLayoutVars>
          <dgm:bulletEnabled val="1"/>
        </dgm:presLayoutVars>
      </dgm:prSet>
      <dgm:spPr/>
    </dgm:pt>
  </dgm:ptLst>
  <dgm:cxnLst>
    <dgm:cxn modelId="{9C4CF31F-46A1-47F2-861C-12D02D9BE0C6}" srcId="{A2CCDCB4-4E44-459F-977D-AA8B7AF72B16}" destId="{099A2F79-8A4C-4444-A9D7-A04BE103613C}" srcOrd="0" destOrd="0" parTransId="{B71C7543-9961-4F2B-BBC5-BB313930762A}" sibTransId="{A5F78A15-5270-4548-9304-04F729AB7E2F}"/>
    <dgm:cxn modelId="{F3EB9A24-F27D-4F90-942C-6DA2B6324A8B}" type="presOf" srcId="{FA97BA53-620A-4D9A-8D5F-4369F411A814}" destId="{7DFCC63D-4D70-4F46-B4B6-AB8A717153E6}" srcOrd="0" destOrd="0" presId="urn:microsoft.com/office/officeart/2005/8/layout/hList1"/>
    <dgm:cxn modelId="{9D280833-1B45-409D-A023-055B57509D07}" type="presOf" srcId="{099A2F79-8A4C-4444-A9D7-A04BE103613C}" destId="{F33DB3B0-A3B7-4113-99EC-704EE30E8C2F}" srcOrd="0" destOrd="0" presId="urn:microsoft.com/office/officeart/2005/8/layout/hList1"/>
    <dgm:cxn modelId="{57C5BB3C-3EAC-4172-AE23-D827740315E7}" srcId="{A2CCDCB4-4E44-459F-977D-AA8B7AF72B16}" destId="{80425C95-D4B3-4AE0-B302-41C2B46D82CA}" srcOrd="1" destOrd="0" parTransId="{03F2DEEB-F384-4B5F-A409-A6B1CAF9C83A}" sibTransId="{9B2724CD-F7FF-4C91-86AA-2F1AF0317E03}"/>
    <dgm:cxn modelId="{B375703D-B25B-4F1A-BA52-063500474647}" srcId="{80425C95-D4B3-4AE0-B302-41C2B46D82CA}" destId="{FA97BA53-620A-4D9A-8D5F-4369F411A814}" srcOrd="0" destOrd="0" parTransId="{8BE6C962-3749-42EE-AA11-3721AD02BC38}" sibTransId="{35603EF4-0A20-4B44-89FC-E8D43FA3AA2B}"/>
    <dgm:cxn modelId="{30404F67-25A6-40E9-AEFA-5BFD6E53CC27}" srcId="{A2CCDCB4-4E44-459F-977D-AA8B7AF72B16}" destId="{512DF0B8-CA6E-4C9F-844A-0735C1D8FF36}" srcOrd="2" destOrd="0" parTransId="{85513686-87CD-4190-A2F4-0BD5FB9015B7}" sibTransId="{500D15B1-AA0B-4196-A833-BAB0C2C21EBD}"/>
    <dgm:cxn modelId="{F065656D-791A-471B-A73C-611F70ADB35A}" srcId="{099A2F79-8A4C-4444-A9D7-A04BE103613C}" destId="{E8B6C79D-51B0-4B99-AAD7-C58E1DF0E80B}" srcOrd="0" destOrd="0" parTransId="{22666EFD-CD7A-422E-BA47-21B67E33799B}" sibTransId="{0FA2670B-2649-41A5-8E46-F4047AB05C5B}"/>
    <dgm:cxn modelId="{5F446E7B-9508-4DA9-B72D-DBAACFC2572F}" type="presOf" srcId="{512DF0B8-CA6E-4C9F-844A-0735C1D8FF36}" destId="{614CE452-322D-4A1A-8BC7-F77D295F5AAA}" srcOrd="0" destOrd="0" presId="urn:microsoft.com/office/officeart/2005/8/layout/hList1"/>
    <dgm:cxn modelId="{927AC384-51CD-48A9-803A-4B140A98650D}" type="presOf" srcId="{80425C95-D4B3-4AE0-B302-41C2B46D82CA}" destId="{EC534D5D-EDD8-4B3A-B6B0-2BEF2A2B0CD0}" srcOrd="0" destOrd="0" presId="urn:microsoft.com/office/officeart/2005/8/layout/hList1"/>
    <dgm:cxn modelId="{C4714D8D-0F6A-451A-86E3-0B134812D7A5}" type="presOf" srcId="{A2CCDCB4-4E44-459F-977D-AA8B7AF72B16}" destId="{B153F24A-E556-4AC2-A25A-1C4E7EF13829}" srcOrd="0" destOrd="0" presId="urn:microsoft.com/office/officeart/2005/8/layout/hList1"/>
    <dgm:cxn modelId="{0AEFB792-B695-4944-A64C-77F58E592CDF}" type="presOf" srcId="{E8B6C79D-51B0-4B99-AAD7-C58E1DF0E80B}" destId="{EC066722-50C4-40E0-AC91-70549800AFFA}" srcOrd="0" destOrd="0" presId="urn:microsoft.com/office/officeart/2005/8/layout/hList1"/>
    <dgm:cxn modelId="{02FA1BDA-4471-4B1F-A4C6-26FD93BF255E}" type="presParOf" srcId="{B153F24A-E556-4AC2-A25A-1C4E7EF13829}" destId="{D3F8C367-2CFA-415C-A7CA-7AE3FFFCCF1F}" srcOrd="0" destOrd="0" presId="urn:microsoft.com/office/officeart/2005/8/layout/hList1"/>
    <dgm:cxn modelId="{E84947AF-90B7-4D08-BD83-3E10AD81001D}" type="presParOf" srcId="{D3F8C367-2CFA-415C-A7CA-7AE3FFFCCF1F}" destId="{F33DB3B0-A3B7-4113-99EC-704EE30E8C2F}" srcOrd="0" destOrd="0" presId="urn:microsoft.com/office/officeart/2005/8/layout/hList1"/>
    <dgm:cxn modelId="{067BCBE8-ADF2-488F-8CD1-B39ED9106DBA}" type="presParOf" srcId="{D3F8C367-2CFA-415C-A7CA-7AE3FFFCCF1F}" destId="{EC066722-50C4-40E0-AC91-70549800AFFA}" srcOrd="1" destOrd="0" presId="urn:microsoft.com/office/officeart/2005/8/layout/hList1"/>
    <dgm:cxn modelId="{EFF2C451-11D8-4516-859F-3BE424DC1F8F}" type="presParOf" srcId="{B153F24A-E556-4AC2-A25A-1C4E7EF13829}" destId="{E2265968-E8DA-404E-B37E-F2ED0D9CE907}" srcOrd="1" destOrd="0" presId="urn:microsoft.com/office/officeart/2005/8/layout/hList1"/>
    <dgm:cxn modelId="{A22CE74D-A4E9-4BDA-9FEC-9776EF2A84AC}" type="presParOf" srcId="{B153F24A-E556-4AC2-A25A-1C4E7EF13829}" destId="{F3DCB77A-204C-485D-8476-F8E060D203FC}" srcOrd="2" destOrd="0" presId="urn:microsoft.com/office/officeart/2005/8/layout/hList1"/>
    <dgm:cxn modelId="{A7E7C92E-E5E5-41D9-BC5F-B21514E3419C}" type="presParOf" srcId="{F3DCB77A-204C-485D-8476-F8E060D203FC}" destId="{EC534D5D-EDD8-4B3A-B6B0-2BEF2A2B0CD0}" srcOrd="0" destOrd="0" presId="urn:microsoft.com/office/officeart/2005/8/layout/hList1"/>
    <dgm:cxn modelId="{96E95CBE-BB71-424F-90E9-4AC197C12C40}" type="presParOf" srcId="{F3DCB77A-204C-485D-8476-F8E060D203FC}" destId="{7DFCC63D-4D70-4F46-B4B6-AB8A717153E6}" srcOrd="1" destOrd="0" presId="urn:microsoft.com/office/officeart/2005/8/layout/hList1"/>
    <dgm:cxn modelId="{72538E77-141F-4546-A91D-2E4A58C3EB4F}" type="presParOf" srcId="{B153F24A-E556-4AC2-A25A-1C4E7EF13829}" destId="{ED5A1D41-3D61-427D-BD04-9AD21F7A4918}" srcOrd="3" destOrd="0" presId="urn:microsoft.com/office/officeart/2005/8/layout/hList1"/>
    <dgm:cxn modelId="{9477A742-6B03-42FF-8DF9-84BA584B4C08}" type="presParOf" srcId="{B153F24A-E556-4AC2-A25A-1C4E7EF13829}" destId="{E1A91FC4-4FBA-4205-BDC2-5A98A516FEAC}" srcOrd="4" destOrd="0" presId="urn:microsoft.com/office/officeart/2005/8/layout/hList1"/>
    <dgm:cxn modelId="{B04D2A3A-EC84-4524-8529-B173C73D26FD}" type="presParOf" srcId="{E1A91FC4-4FBA-4205-BDC2-5A98A516FEAC}" destId="{614CE452-322D-4A1A-8BC7-F77D295F5AAA}" srcOrd="0" destOrd="0" presId="urn:microsoft.com/office/officeart/2005/8/layout/hList1"/>
    <dgm:cxn modelId="{65E72789-069A-48B5-9E59-DFB9148BE1DC}" type="presParOf" srcId="{E1A91FC4-4FBA-4205-BDC2-5A98A516FEAC}" destId="{88224CC8-398E-4EE3-B09F-7A524DA23522}"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86395BA-DD3A-4926-A658-5246E208E071}" type="doc">
      <dgm:prSet loTypeId="urn:microsoft.com/office/officeart/2005/8/layout/process4" loCatId="list" qsTypeId="urn:microsoft.com/office/officeart/2005/8/quickstyle/simple1" qsCatId="simple" csTypeId="urn:microsoft.com/office/officeart/2005/8/colors/accent2_2" csCatId="accent2" phldr="1"/>
      <dgm:spPr/>
      <dgm:t>
        <a:bodyPr/>
        <a:lstStyle/>
        <a:p>
          <a:endParaRPr lang="en-US"/>
        </a:p>
      </dgm:t>
    </dgm:pt>
    <dgm:pt modelId="{1A28297B-672A-42A7-97D9-9E5CE6118F8E}">
      <dgm:prSet/>
      <dgm:spPr/>
      <dgm:t>
        <a:bodyPr/>
        <a:lstStyle/>
        <a:p>
          <a:r>
            <a:rPr lang="en-US" dirty="0"/>
            <a:t>You must already own the domain</a:t>
          </a:r>
        </a:p>
      </dgm:t>
    </dgm:pt>
    <dgm:pt modelId="{4B0A3261-426E-4ACE-A280-5CCE65B27E71}" type="parTrans" cxnId="{37A69F6B-8AA8-4EA3-A35B-BA06B8DE348E}">
      <dgm:prSet/>
      <dgm:spPr/>
      <dgm:t>
        <a:bodyPr/>
        <a:lstStyle/>
        <a:p>
          <a:endParaRPr lang="en-US"/>
        </a:p>
      </dgm:t>
    </dgm:pt>
    <dgm:pt modelId="{7036BD02-B01C-4724-9EED-507715057B3A}" type="sibTrans" cxnId="{37A69F6B-8AA8-4EA3-A35B-BA06B8DE348E}">
      <dgm:prSet/>
      <dgm:spPr/>
      <dgm:t>
        <a:bodyPr/>
        <a:lstStyle/>
        <a:p>
          <a:endParaRPr lang="en-US"/>
        </a:p>
      </dgm:t>
    </dgm:pt>
    <dgm:pt modelId="{3DAC83DE-40D9-44D8-9B21-4C1F1CA5A23A}">
      <dgm:prSet/>
      <dgm:spPr/>
      <dgm:t>
        <a:bodyPr/>
        <a:lstStyle/>
        <a:p>
          <a:r>
            <a:rPr lang="en-US" dirty="0"/>
            <a:t>Domain must not already be in use by another Microsoft 365 tenant</a:t>
          </a:r>
        </a:p>
      </dgm:t>
    </dgm:pt>
    <dgm:pt modelId="{1DDF52D8-6E31-4EA8-8080-63188BCE26DE}" type="parTrans" cxnId="{144D02F9-60DE-4A92-BC92-66A20D2FCE71}">
      <dgm:prSet/>
      <dgm:spPr/>
      <dgm:t>
        <a:bodyPr/>
        <a:lstStyle/>
        <a:p>
          <a:endParaRPr lang="en-US"/>
        </a:p>
      </dgm:t>
    </dgm:pt>
    <dgm:pt modelId="{76576E7D-7AF4-4BEB-810F-EFF08903C7AF}" type="sibTrans" cxnId="{144D02F9-60DE-4A92-BC92-66A20D2FCE71}">
      <dgm:prSet/>
      <dgm:spPr/>
      <dgm:t>
        <a:bodyPr/>
        <a:lstStyle/>
        <a:p>
          <a:endParaRPr lang="en-US"/>
        </a:p>
      </dgm:t>
    </dgm:pt>
    <dgm:pt modelId="{F4421CBC-B4F1-4A80-87B3-3AF33FD306B5}">
      <dgm:prSet/>
      <dgm:spPr/>
      <dgm:t>
        <a:bodyPr/>
        <a:lstStyle/>
        <a:p>
          <a:r>
            <a:rPr lang="en-US"/>
            <a:t>You must be able to create public DNS records for your domain</a:t>
          </a:r>
        </a:p>
      </dgm:t>
    </dgm:pt>
    <dgm:pt modelId="{0DFF5D08-3D20-4886-8867-956448E84555}" type="parTrans" cxnId="{72FB7159-AB12-467D-942E-14D29B04F450}">
      <dgm:prSet/>
      <dgm:spPr/>
      <dgm:t>
        <a:bodyPr/>
        <a:lstStyle/>
        <a:p>
          <a:endParaRPr lang="en-US"/>
        </a:p>
      </dgm:t>
    </dgm:pt>
    <dgm:pt modelId="{ECC9B522-4F01-4565-AFFE-CB2304160C2A}" type="sibTrans" cxnId="{72FB7159-AB12-467D-942E-14D29B04F450}">
      <dgm:prSet/>
      <dgm:spPr/>
      <dgm:t>
        <a:bodyPr/>
        <a:lstStyle/>
        <a:p>
          <a:endParaRPr lang="en-US"/>
        </a:p>
      </dgm:t>
    </dgm:pt>
    <dgm:pt modelId="{CADD6A9B-A1CF-470B-A7D0-6A27EBD6DD0B}" type="pres">
      <dgm:prSet presAssocID="{B86395BA-DD3A-4926-A658-5246E208E071}" presName="Name0" presStyleCnt="0">
        <dgm:presLayoutVars>
          <dgm:dir/>
          <dgm:animLvl val="lvl"/>
          <dgm:resizeHandles val="exact"/>
        </dgm:presLayoutVars>
      </dgm:prSet>
      <dgm:spPr/>
    </dgm:pt>
    <dgm:pt modelId="{F132A391-6C91-4B9C-A76B-51A6A4BECE15}" type="pres">
      <dgm:prSet presAssocID="{F4421CBC-B4F1-4A80-87B3-3AF33FD306B5}" presName="boxAndChildren" presStyleCnt="0"/>
      <dgm:spPr/>
    </dgm:pt>
    <dgm:pt modelId="{76F0B15A-4AE6-414A-8E0E-88156018A9D6}" type="pres">
      <dgm:prSet presAssocID="{F4421CBC-B4F1-4A80-87B3-3AF33FD306B5}" presName="parentTextBox" presStyleLbl="node1" presStyleIdx="0" presStyleCnt="3"/>
      <dgm:spPr/>
    </dgm:pt>
    <dgm:pt modelId="{54FB8BFB-5B81-4EE2-B462-68095F615FF5}" type="pres">
      <dgm:prSet presAssocID="{76576E7D-7AF4-4BEB-810F-EFF08903C7AF}" presName="sp" presStyleCnt="0"/>
      <dgm:spPr/>
    </dgm:pt>
    <dgm:pt modelId="{3939141D-1216-4FB4-9982-33E257C19B5A}" type="pres">
      <dgm:prSet presAssocID="{3DAC83DE-40D9-44D8-9B21-4C1F1CA5A23A}" presName="arrowAndChildren" presStyleCnt="0"/>
      <dgm:spPr/>
    </dgm:pt>
    <dgm:pt modelId="{A66BE7A4-452C-4C1C-9EEB-0BC84AC1373F}" type="pres">
      <dgm:prSet presAssocID="{3DAC83DE-40D9-44D8-9B21-4C1F1CA5A23A}" presName="parentTextArrow" presStyleLbl="node1" presStyleIdx="1" presStyleCnt="3"/>
      <dgm:spPr/>
    </dgm:pt>
    <dgm:pt modelId="{A08D680B-8DB5-45A4-AF5E-1F28356531D0}" type="pres">
      <dgm:prSet presAssocID="{7036BD02-B01C-4724-9EED-507715057B3A}" presName="sp" presStyleCnt="0"/>
      <dgm:spPr/>
    </dgm:pt>
    <dgm:pt modelId="{9F40B9C4-C4C7-4D14-869C-1E02CCE92709}" type="pres">
      <dgm:prSet presAssocID="{1A28297B-672A-42A7-97D9-9E5CE6118F8E}" presName="arrowAndChildren" presStyleCnt="0"/>
      <dgm:spPr/>
    </dgm:pt>
    <dgm:pt modelId="{14A1E6CE-CE56-4BB1-8EA7-9327C38F56DE}" type="pres">
      <dgm:prSet presAssocID="{1A28297B-672A-42A7-97D9-9E5CE6118F8E}" presName="parentTextArrow" presStyleLbl="node1" presStyleIdx="2" presStyleCnt="3"/>
      <dgm:spPr/>
    </dgm:pt>
  </dgm:ptLst>
  <dgm:cxnLst>
    <dgm:cxn modelId="{0DA2AE5E-D97F-4FB1-89D0-1A5261C7F609}" type="presOf" srcId="{F4421CBC-B4F1-4A80-87B3-3AF33FD306B5}" destId="{76F0B15A-4AE6-414A-8E0E-88156018A9D6}" srcOrd="0" destOrd="0" presId="urn:microsoft.com/office/officeart/2005/8/layout/process4"/>
    <dgm:cxn modelId="{37A69F6B-8AA8-4EA3-A35B-BA06B8DE348E}" srcId="{B86395BA-DD3A-4926-A658-5246E208E071}" destId="{1A28297B-672A-42A7-97D9-9E5CE6118F8E}" srcOrd="0" destOrd="0" parTransId="{4B0A3261-426E-4ACE-A280-5CCE65B27E71}" sibTransId="{7036BD02-B01C-4724-9EED-507715057B3A}"/>
    <dgm:cxn modelId="{6D0E8C76-2B3E-4BC8-AB22-95C75CC4F44D}" type="presOf" srcId="{1A28297B-672A-42A7-97D9-9E5CE6118F8E}" destId="{14A1E6CE-CE56-4BB1-8EA7-9327C38F56DE}" srcOrd="0" destOrd="0" presId="urn:microsoft.com/office/officeart/2005/8/layout/process4"/>
    <dgm:cxn modelId="{72FB7159-AB12-467D-942E-14D29B04F450}" srcId="{B86395BA-DD3A-4926-A658-5246E208E071}" destId="{F4421CBC-B4F1-4A80-87B3-3AF33FD306B5}" srcOrd="2" destOrd="0" parTransId="{0DFF5D08-3D20-4886-8867-956448E84555}" sibTransId="{ECC9B522-4F01-4565-AFFE-CB2304160C2A}"/>
    <dgm:cxn modelId="{F0725F8A-A86E-4620-B2D9-3F802F233798}" type="presOf" srcId="{B86395BA-DD3A-4926-A658-5246E208E071}" destId="{CADD6A9B-A1CF-470B-A7D0-6A27EBD6DD0B}" srcOrd="0" destOrd="0" presId="urn:microsoft.com/office/officeart/2005/8/layout/process4"/>
    <dgm:cxn modelId="{381BA1E0-E0B7-41F0-910F-7FAD9934624E}" type="presOf" srcId="{3DAC83DE-40D9-44D8-9B21-4C1F1CA5A23A}" destId="{A66BE7A4-452C-4C1C-9EEB-0BC84AC1373F}" srcOrd="0" destOrd="0" presId="urn:microsoft.com/office/officeart/2005/8/layout/process4"/>
    <dgm:cxn modelId="{144D02F9-60DE-4A92-BC92-66A20D2FCE71}" srcId="{B86395BA-DD3A-4926-A658-5246E208E071}" destId="{3DAC83DE-40D9-44D8-9B21-4C1F1CA5A23A}" srcOrd="1" destOrd="0" parTransId="{1DDF52D8-6E31-4EA8-8080-63188BCE26DE}" sibTransId="{76576E7D-7AF4-4BEB-810F-EFF08903C7AF}"/>
    <dgm:cxn modelId="{3680968E-E2E5-4BD7-9CAE-38C607A0C163}" type="presParOf" srcId="{CADD6A9B-A1CF-470B-A7D0-6A27EBD6DD0B}" destId="{F132A391-6C91-4B9C-A76B-51A6A4BECE15}" srcOrd="0" destOrd="0" presId="urn:microsoft.com/office/officeart/2005/8/layout/process4"/>
    <dgm:cxn modelId="{A21BEA0C-C7E8-47AF-AE48-F93AEDB7CDE4}" type="presParOf" srcId="{F132A391-6C91-4B9C-A76B-51A6A4BECE15}" destId="{76F0B15A-4AE6-414A-8E0E-88156018A9D6}" srcOrd="0" destOrd="0" presId="urn:microsoft.com/office/officeart/2005/8/layout/process4"/>
    <dgm:cxn modelId="{0F9457FA-BDC9-4043-BDF2-800CEB4E1348}" type="presParOf" srcId="{CADD6A9B-A1CF-470B-A7D0-6A27EBD6DD0B}" destId="{54FB8BFB-5B81-4EE2-B462-68095F615FF5}" srcOrd="1" destOrd="0" presId="urn:microsoft.com/office/officeart/2005/8/layout/process4"/>
    <dgm:cxn modelId="{8464689F-A674-4CAB-8A62-61C84C216B5D}" type="presParOf" srcId="{CADD6A9B-A1CF-470B-A7D0-6A27EBD6DD0B}" destId="{3939141D-1216-4FB4-9982-33E257C19B5A}" srcOrd="2" destOrd="0" presId="urn:microsoft.com/office/officeart/2005/8/layout/process4"/>
    <dgm:cxn modelId="{C70DE93F-282B-445C-A30A-E0078D5EEFBC}" type="presParOf" srcId="{3939141D-1216-4FB4-9982-33E257C19B5A}" destId="{A66BE7A4-452C-4C1C-9EEB-0BC84AC1373F}" srcOrd="0" destOrd="0" presId="urn:microsoft.com/office/officeart/2005/8/layout/process4"/>
    <dgm:cxn modelId="{A530DBBC-7684-4411-A756-4636894021FD}" type="presParOf" srcId="{CADD6A9B-A1CF-470B-A7D0-6A27EBD6DD0B}" destId="{A08D680B-8DB5-45A4-AF5E-1F28356531D0}" srcOrd="3" destOrd="0" presId="urn:microsoft.com/office/officeart/2005/8/layout/process4"/>
    <dgm:cxn modelId="{A9868C8E-74FC-4037-9E04-FF1D99A17E1A}" type="presParOf" srcId="{CADD6A9B-A1CF-470B-A7D0-6A27EBD6DD0B}" destId="{9F40B9C4-C4C7-4D14-869C-1E02CCE92709}" srcOrd="4" destOrd="0" presId="urn:microsoft.com/office/officeart/2005/8/layout/process4"/>
    <dgm:cxn modelId="{C0CA067A-A81D-42E9-95D8-FEEFA6E8D340}" type="presParOf" srcId="{9F40B9C4-C4C7-4D14-869C-1E02CCE92709}" destId="{14A1E6CE-CE56-4BB1-8EA7-9327C38F56DE}"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B545E2C-BBDC-4BBA-9018-C691FFD8EC86}" type="doc">
      <dgm:prSet loTypeId="urn:microsoft.com/office/officeart/2005/8/layout/list1" loCatId="list" qsTypeId="urn:microsoft.com/office/officeart/2005/8/quickstyle/simple1" qsCatId="simple" csTypeId="urn:microsoft.com/office/officeart/2005/8/colors/accent2_1" csCatId="accent2" phldr="1"/>
      <dgm:spPr/>
      <dgm:t>
        <a:bodyPr/>
        <a:lstStyle/>
        <a:p>
          <a:endParaRPr lang="en-US"/>
        </a:p>
      </dgm:t>
    </dgm:pt>
    <dgm:pt modelId="{C45A2A82-72F7-4436-AC4D-282C806A0DF0}">
      <dgm:prSet custT="1"/>
      <dgm:spPr/>
      <dgm:t>
        <a:bodyPr/>
        <a:lstStyle/>
        <a:p>
          <a:r>
            <a:rPr lang="en-US" sz="1800" dirty="0"/>
            <a:t>What is the URL for the Microsoft 365 Admin Center?</a:t>
          </a:r>
          <a:endParaRPr lang="nb-NO" sz="1800" dirty="0"/>
        </a:p>
      </dgm:t>
    </dgm:pt>
    <dgm:pt modelId="{45FD0928-FC34-4468-9104-D2B4752ED4DE}" type="parTrans" cxnId="{3732C9BF-0C70-45B5-98DC-C2B6541CD45A}">
      <dgm:prSet/>
      <dgm:spPr/>
      <dgm:t>
        <a:bodyPr/>
        <a:lstStyle/>
        <a:p>
          <a:endParaRPr lang="en-US" sz="2400"/>
        </a:p>
      </dgm:t>
    </dgm:pt>
    <dgm:pt modelId="{A84D4864-8441-4A3B-B096-66A8E882DC1F}" type="sibTrans" cxnId="{3732C9BF-0C70-45B5-98DC-C2B6541CD45A}">
      <dgm:prSet/>
      <dgm:spPr/>
      <dgm:t>
        <a:bodyPr/>
        <a:lstStyle/>
        <a:p>
          <a:endParaRPr lang="en-US" sz="2400"/>
        </a:p>
      </dgm:t>
    </dgm:pt>
    <dgm:pt modelId="{220E06C6-3DB3-40F4-873C-65FF75EBA498}">
      <dgm:prSet custT="1"/>
      <dgm:spPr/>
      <dgm:t>
        <a:bodyPr/>
        <a:lstStyle/>
        <a:p>
          <a:r>
            <a:rPr lang="en-US" sz="1800" dirty="0"/>
            <a:t>What is the URL for the SharePoint Administration Center? </a:t>
          </a:r>
          <a:endParaRPr lang="nb-NO" sz="1800" dirty="0"/>
        </a:p>
      </dgm:t>
    </dgm:pt>
    <dgm:pt modelId="{1DFC1688-85F0-4D52-893B-202D5BA4FD95}" type="parTrans" cxnId="{F95F1119-3CDC-4E8A-80DF-640E124A8AC9}">
      <dgm:prSet/>
      <dgm:spPr/>
      <dgm:t>
        <a:bodyPr/>
        <a:lstStyle/>
        <a:p>
          <a:endParaRPr lang="en-US" sz="2400"/>
        </a:p>
      </dgm:t>
    </dgm:pt>
    <dgm:pt modelId="{17C8FCFD-C7FD-4AC9-84AB-1ADC63797969}" type="sibTrans" cxnId="{F95F1119-3CDC-4E8A-80DF-640E124A8AC9}">
      <dgm:prSet/>
      <dgm:spPr/>
      <dgm:t>
        <a:bodyPr/>
        <a:lstStyle/>
        <a:p>
          <a:endParaRPr lang="en-US" sz="2400"/>
        </a:p>
      </dgm:t>
    </dgm:pt>
    <dgm:pt modelId="{5BDD7D2B-7EDB-4A84-B289-9598DE757001}">
      <dgm:prSet custT="1"/>
      <dgm:spPr/>
      <dgm:t>
        <a:bodyPr/>
        <a:lstStyle/>
        <a:p>
          <a:r>
            <a:rPr lang="en-US" sz="1800" dirty="0"/>
            <a:t>What are the possible ways of managing licenses?</a:t>
          </a:r>
          <a:endParaRPr lang="nb-NO" sz="1800" dirty="0"/>
        </a:p>
      </dgm:t>
    </dgm:pt>
    <dgm:pt modelId="{663C54D7-BC3F-4D91-9678-677E85B78776}" type="parTrans" cxnId="{B7111B6A-9318-4BA3-8ACD-1305D2997ED9}">
      <dgm:prSet/>
      <dgm:spPr/>
      <dgm:t>
        <a:bodyPr/>
        <a:lstStyle/>
        <a:p>
          <a:endParaRPr lang="en-US" sz="2400"/>
        </a:p>
      </dgm:t>
    </dgm:pt>
    <dgm:pt modelId="{63432CA5-C4EE-4A36-B38F-930EC605F823}" type="sibTrans" cxnId="{B7111B6A-9318-4BA3-8ACD-1305D2997ED9}">
      <dgm:prSet/>
      <dgm:spPr/>
      <dgm:t>
        <a:bodyPr/>
        <a:lstStyle/>
        <a:p>
          <a:endParaRPr lang="en-US" sz="2400"/>
        </a:p>
      </dgm:t>
    </dgm:pt>
    <dgm:pt modelId="{DD9B8891-F74B-41FB-86C0-5762720A989B}">
      <dgm:prSet custT="1"/>
      <dgm:spPr/>
      <dgm:t>
        <a:bodyPr/>
        <a:lstStyle/>
        <a:p>
          <a:r>
            <a:rPr lang="en-US" sz="1800" dirty="0"/>
            <a:t>What happens if you remove a SharePoint license from a user? </a:t>
          </a:r>
          <a:endParaRPr lang="nb-NO" sz="1800" dirty="0"/>
        </a:p>
      </dgm:t>
    </dgm:pt>
    <dgm:pt modelId="{935BDDA6-9110-44F8-8085-9B50B64CDFFD}" type="parTrans" cxnId="{A74F0814-5D28-4EFA-8098-5C3D505FC8FD}">
      <dgm:prSet/>
      <dgm:spPr/>
      <dgm:t>
        <a:bodyPr/>
        <a:lstStyle/>
        <a:p>
          <a:endParaRPr lang="en-US" sz="2400"/>
        </a:p>
      </dgm:t>
    </dgm:pt>
    <dgm:pt modelId="{BD634B3F-1954-4FA0-8808-7313BBA46777}" type="sibTrans" cxnId="{A74F0814-5D28-4EFA-8098-5C3D505FC8FD}">
      <dgm:prSet/>
      <dgm:spPr/>
      <dgm:t>
        <a:bodyPr/>
        <a:lstStyle/>
        <a:p>
          <a:endParaRPr lang="en-US" sz="2400"/>
        </a:p>
      </dgm:t>
    </dgm:pt>
    <dgm:pt modelId="{4966BF5C-B3A4-4080-9EA9-9851EFE63256}">
      <dgm:prSet custT="1"/>
      <dgm:spPr/>
      <dgm:t>
        <a:bodyPr/>
        <a:lstStyle/>
        <a:p>
          <a:r>
            <a:rPr lang="en-US" sz="1800" dirty="0"/>
            <a:t>https://admin.microsoft.com</a:t>
          </a:r>
          <a:endParaRPr lang="nb-NO" sz="1800" dirty="0"/>
        </a:p>
      </dgm:t>
    </dgm:pt>
    <dgm:pt modelId="{49983C3C-3ECB-4A6C-B47F-C1D28D83BBFE}" type="parTrans" cxnId="{E07953ED-F6D1-441A-9B99-23CEB95D7358}">
      <dgm:prSet/>
      <dgm:spPr/>
      <dgm:t>
        <a:bodyPr/>
        <a:lstStyle/>
        <a:p>
          <a:endParaRPr lang="en-US" sz="2400"/>
        </a:p>
      </dgm:t>
    </dgm:pt>
    <dgm:pt modelId="{61BEC369-6CCD-4116-BD79-1533D00A6093}" type="sibTrans" cxnId="{E07953ED-F6D1-441A-9B99-23CEB95D7358}">
      <dgm:prSet/>
      <dgm:spPr/>
      <dgm:t>
        <a:bodyPr/>
        <a:lstStyle/>
        <a:p>
          <a:endParaRPr lang="en-US" sz="2400"/>
        </a:p>
      </dgm:t>
    </dgm:pt>
    <dgm:pt modelId="{EF72FBCE-C45E-47C0-927F-5E3CBE7C0125}">
      <dgm:prSet custT="1"/>
      <dgm:spPr/>
      <dgm:t>
        <a:bodyPr/>
        <a:lstStyle/>
        <a:p>
          <a:r>
            <a:rPr lang="en-US" sz="1800" dirty="0"/>
            <a:t>https://&lt;tenantname&gt;-admin.sharepoint.com</a:t>
          </a:r>
          <a:endParaRPr lang="nb-NO" sz="1800" dirty="0"/>
        </a:p>
      </dgm:t>
    </dgm:pt>
    <dgm:pt modelId="{A21F4D49-D43E-40CB-AF97-88D7D7B3D27C}" type="parTrans" cxnId="{D7E4C46F-3D9A-424E-A227-1148137D4CCE}">
      <dgm:prSet/>
      <dgm:spPr/>
      <dgm:t>
        <a:bodyPr/>
        <a:lstStyle/>
        <a:p>
          <a:endParaRPr lang="en-US" sz="2400"/>
        </a:p>
      </dgm:t>
    </dgm:pt>
    <dgm:pt modelId="{B9AEBFE9-4998-4D23-9458-D903E0CBC137}" type="sibTrans" cxnId="{D7E4C46F-3D9A-424E-A227-1148137D4CCE}">
      <dgm:prSet/>
      <dgm:spPr/>
      <dgm:t>
        <a:bodyPr/>
        <a:lstStyle/>
        <a:p>
          <a:endParaRPr lang="en-US" sz="2400"/>
        </a:p>
      </dgm:t>
    </dgm:pt>
    <dgm:pt modelId="{B8B90E44-6D59-4DE5-B968-E18F1DFA5392}">
      <dgm:prSet custT="1"/>
      <dgm:spPr/>
      <dgm:t>
        <a:bodyPr/>
        <a:lstStyle/>
        <a:p>
          <a:r>
            <a:rPr lang="en-AU" sz="1800" dirty="0"/>
            <a:t>Using Management Interfaces like Microsoft 365 Admin </a:t>
          </a:r>
          <a:r>
            <a:rPr lang="en-US" sz="1800" dirty="0"/>
            <a:t>Center OR Azure Admin Portal</a:t>
          </a:r>
          <a:endParaRPr lang="nb-NO" sz="1800" dirty="0"/>
        </a:p>
      </dgm:t>
    </dgm:pt>
    <dgm:pt modelId="{79470423-F689-432D-A5C1-447E220C28AB}" type="parTrans" cxnId="{5178D39A-1AF9-4D28-ACF0-E529C042B1AB}">
      <dgm:prSet/>
      <dgm:spPr/>
      <dgm:t>
        <a:bodyPr/>
        <a:lstStyle/>
        <a:p>
          <a:endParaRPr lang="en-US" sz="2400"/>
        </a:p>
      </dgm:t>
    </dgm:pt>
    <dgm:pt modelId="{3E5E9AFB-E52F-4527-9E7F-CDF80F4B085B}" type="sibTrans" cxnId="{5178D39A-1AF9-4D28-ACF0-E529C042B1AB}">
      <dgm:prSet/>
      <dgm:spPr/>
      <dgm:t>
        <a:bodyPr/>
        <a:lstStyle/>
        <a:p>
          <a:endParaRPr lang="en-US" sz="2400"/>
        </a:p>
      </dgm:t>
    </dgm:pt>
    <dgm:pt modelId="{64E39621-9790-48A9-8540-26221DEC8877}">
      <dgm:prSet custT="1"/>
      <dgm:spPr/>
      <dgm:t>
        <a:bodyPr/>
        <a:lstStyle/>
        <a:p>
          <a:r>
            <a:rPr lang="en-AU" sz="1800" dirty="0"/>
            <a:t>A user’s content in SharePoint Online will remain in SharePoint Online</a:t>
          </a:r>
          <a:endParaRPr lang="nb-NO" sz="1800" dirty="0"/>
        </a:p>
      </dgm:t>
    </dgm:pt>
    <dgm:pt modelId="{721EC739-E249-4AF7-95FC-5A37560FC99E}" type="parTrans" cxnId="{304DA54C-6191-450D-BDA7-D5D2324557F1}">
      <dgm:prSet/>
      <dgm:spPr/>
      <dgm:t>
        <a:bodyPr/>
        <a:lstStyle/>
        <a:p>
          <a:endParaRPr lang="en-US" sz="2400"/>
        </a:p>
      </dgm:t>
    </dgm:pt>
    <dgm:pt modelId="{D8AB948B-28D0-4139-95FA-5212AA57100F}" type="sibTrans" cxnId="{304DA54C-6191-450D-BDA7-D5D2324557F1}">
      <dgm:prSet/>
      <dgm:spPr/>
      <dgm:t>
        <a:bodyPr/>
        <a:lstStyle/>
        <a:p>
          <a:endParaRPr lang="en-US" sz="2400"/>
        </a:p>
      </dgm:t>
    </dgm:pt>
    <dgm:pt modelId="{A651C10B-48C1-44F0-9C10-3B640F8068F4}">
      <dgm:prSet custT="1"/>
      <dgm:spPr/>
      <dgm:t>
        <a:bodyPr/>
        <a:lstStyle/>
        <a:p>
          <a:r>
            <a:rPr lang="en-AU" sz="1800"/>
            <a:t>The Users OneDrive for Business will remain and will not go into a clean-up or deletion process when the users SPO license is removed</a:t>
          </a:r>
          <a:endParaRPr lang="nb-NO" sz="1800" dirty="0"/>
        </a:p>
      </dgm:t>
    </dgm:pt>
    <dgm:pt modelId="{A8C6F73E-BCD3-4C83-B372-2E046059A487}" type="parTrans" cxnId="{1F746B8C-F241-4290-837C-87791A663F15}">
      <dgm:prSet/>
      <dgm:spPr/>
      <dgm:t>
        <a:bodyPr/>
        <a:lstStyle/>
        <a:p>
          <a:endParaRPr lang="en-US" sz="2400"/>
        </a:p>
      </dgm:t>
    </dgm:pt>
    <dgm:pt modelId="{E1D415A3-B46E-4F0C-A4F6-FEF244AB6BE2}" type="sibTrans" cxnId="{1F746B8C-F241-4290-837C-87791A663F15}">
      <dgm:prSet/>
      <dgm:spPr/>
      <dgm:t>
        <a:bodyPr/>
        <a:lstStyle/>
        <a:p>
          <a:endParaRPr lang="en-US" sz="2400"/>
        </a:p>
      </dgm:t>
    </dgm:pt>
    <dgm:pt modelId="{377E97FB-309D-4031-B9D3-37183B6F4C40}">
      <dgm:prSet custT="1"/>
      <dgm:spPr/>
      <dgm:t>
        <a:bodyPr/>
        <a:lstStyle/>
        <a:p>
          <a:r>
            <a:rPr lang="en-AU" sz="1800" dirty="0"/>
            <a:t>The OneDrive for Business clean-up process only occurs when the user’s account is no longer in Azure AD. </a:t>
          </a:r>
          <a:endParaRPr lang="nb-NO" sz="1800" dirty="0"/>
        </a:p>
      </dgm:t>
    </dgm:pt>
    <dgm:pt modelId="{8DF909E9-F419-43CE-8A6D-8A3AB7F5D1CE}" type="parTrans" cxnId="{0A4E92C7-A951-47B3-AB7C-5589B2CF8D1C}">
      <dgm:prSet/>
      <dgm:spPr/>
      <dgm:t>
        <a:bodyPr/>
        <a:lstStyle/>
        <a:p>
          <a:endParaRPr lang="en-US" sz="2400"/>
        </a:p>
      </dgm:t>
    </dgm:pt>
    <dgm:pt modelId="{378B8D5B-965E-4BBF-979F-5CD2627B952E}" type="sibTrans" cxnId="{0A4E92C7-A951-47B3-AB7C-5589B2CF8D1C}">
      <dgm:prSet/>
      <dgm:spPr/>
      <dgm:t>
        <a:bodyPr/>
        <a:lstStyle/>
        <a:p>
          <a:endParaRPr lang="en-US" sz="2400"/>
        </a:p>
      </dgm:t>
    </dgm:pt>
    <dgm:pt modelId="{F345DD63-7B53-4033-8281-77EE5D85FAF2}">
      <dgm:prSet custT="1"/>
      <dgm:spPr/>
      <dgm:t>
        <a:bodyPr/>
        <a:lstStyle/>
        <a:p>
          <a:r>
            <a:rPr lang="en-US" sz="1800"/>
            <a:t>Can you remove or rename the default Microsoft Online domain?</a:t>
          </a:r>
          <a:endParaRPr lang="nb-NO" sz="1800" dirty="0"/>
        </a:p>
      </dgm:t>
    </dgm:pt>
    <dgm:pt modelId="{B9E35CE6-1EBD-444F-8E5A-D5D1EB169432}" type="parTrans" cxnId="{FD238A2B-198E-42FC-821B-53B651EA5DD2}">
      <dgm:prSet/>
      <dgm:spPr/>
      <dgm:t>
        <a:bodyPr/>
        <a:lstStyle/>
        <a:p>
          <a:endParaRPr lang="en-SE" sz="2400"/>
        </a:p>
      </dgm:t>
    </dgm:pt>
    <dgm:pt modelId="{AFF9A283-BC91-403E-B768-2EC3F8E38997}" type="sibTrans" cxnId="{FD238A2B-198E-42FC-821B-53B651EA5DD2}">
      <dgm:prSet/>
      <dgm:spPr/>
      <dgm:t>
        <a:bodyPr/>
        <a:lstStyle/>
        <a:p>
          <a:endParaRPr lang="en-SE" sz="2400"/>
        </a:p>
      </dgm:t>
    </dgm:pt>
    <dgm:pt modelId="{5E90913C-A6C0-451E-97DD-8AC0D8B8C88D}">
      <dgm:prSet custT="1"/>
      <dgm:spPr/>
      <dgm:t>
        <a:bodyPr/>
        <a:lstStyle/>
        <a:p>
          <a:r>
            <a:rPr lang="nb-NO" sz="1800" dirty="0"/>
            <a:t>No</a:t>
          </a:r>
        </a:p>
      </dgm:t>
    </dgm:pt>
    <dgm:pt modelId="{F28CA800-32A5-4F1F-A300-86519F85B139}" type="parTrans" cxnId="{38EAD731-8DE0-4873-989F-E0968A849945}">
      <dgm:prSet/>
      <dgm:spPr/>
      <dgm:t>
        <a:bodyPr/>
        <a:lstStyle/>
        <a:p>
          <a:endParaRPr lang="en-US" sz="2400"/>
        </a:p>
      </dgm:t>
    </dgm:pt>
    <dgm:pt modelId="{D9A2672E-6977-48B5-A9F4-30B586224790}" type="sibTrans" cxnId="{38EAD731-8DE0-4873-989F-E0968A849945}">
      <dgm:prSet/>
      <dgm:spPr/>
      <dgm:t>
        <a:bodyPr/>
        <a:lstStyle/>
        <a:p>
          <a:endParaRPr lang="en-US" sz="2400"/>
        </a:p>
      </dgm:t>
    </dgm:pt>
    <dgm:pt modelId="{5E54F4F9-9770-4B8B-8980-7A494B0BA695}">
      <dgm:prSet custT="1"/>
      <dgm:spPr/>
      <dgm:t>
        <a:bodyPr/>
        <a:lstStyle/>
        <a:p>
          <a:r>
            <a:rPr lang="en-US" sz="1800"/>
            <a:t>Using Azure Active Directory PowerShell for Graph </a:t>
          </a:r>
          <a:endParaRPr lang="nb-NO" sz="1800" dirty="0"/>
        </a:p>
      </dgm:t>
    </dgm:pt>
    <dgm:pt modelId="{E2088E7F-9D68-4606-B141-B2BD4C23526D}" type="parTrans" cxnId="{92BA85B9-7654-4C68-8D4F-F62FADD96DEA}">
      <dgm:prSet/>
      <dgm:spPr/>
      <dgm:t>
        <a:bodyPr/>
        <a:lstStyle/>
        <a:p>
          <a:endParaRPr lang="en-SE" sz="2400"/>
        </a:p>
      </dgm:t>
    </dgm:pt>
    <dgm:pt modelId="{EC4D3B5D-253B-48EB-A2F3-914D67F794D7}" type="sibTrans" cxnId="{92BA85B9-7654-4C68-8D4F-F62FADD96DEA}">
      <dgm:prSet/>
      <dgm:spPr/>
      <dgm:t>
        <a:bodyPr/>
        <a:lstStyle/>
        <a:p>
          <a:endParaRPr lang="en-SE" sz="2400"/>
        </a:p>
      </dgm:t>
    </dgm:pt>
    <dgm:pt modelId="{08FB1EB6-A1A1-4C9E-9CA5-2AA937AD51E1}" type="pres">
      <dgm:prSet presAssocID="{CB545E2C-BBDC-4BBA-9018-C691FFD8EC86}" presName="linear" presStyleCnt="0">
        <dgm:presLayoutVars>
          <dgm:dir/>
          <dgm:animLvl val="lvl"/>
          <dgm:resizeHandles val="exact"/>
        </dgm:presLayoutVars>
      </dgm:prSet>
      <dgm:spPr/>
    </dgm:pt>
    <dgm:pt modelId="{81C3A6D5-1BE8-4517-8194-E77761924686}" type="pres">
      <dgm:prSet presAssocID="{C45A2A82-72F7-4436-AC4D-282C806A0DF0}" presName="parentLin" presStyleCnt="0"/>
      <dgm:spPr/>
    </dgm:pt>
    <dgm:pt modelId="{2843B0D6-7C0F-4772-8A2C-7B3190D85E02}" type="pres">
      <dgm:prSet presAssocID="{C45A2A82-72F7-4436-AC4D-282C806A0DF0}" presName="parentLeftMargin" presStyleLbl="node1" presStyleIdx="0" presStyleCnt="5"/>
      <dgm:spPr/>
    </dgm:pt>
    <dgm:pt modelId="{6B258DE7-67F3-47A6-820F-1B85C658002A}" type="pres">
      <dgm:prSet presAssocID="{C45A2A82-72F7-4436-AC4D-282C806A0DF0}" presName="parentText" presStyleLbl="node1" presStyleIdx="0" presStyleCnt="5">
        <dgm:presLayoutVars>
          <dgm:chMax val="0"/>
          <dgm:bulletEnabled val="1"/>
        </dgm:presLayoutVars>
      </dgm:prSet>
      <dgm:spPr/>
    </dgm:pt>
    <dgm:pt modelId="{9BA18E2D-9DCC-4695-84C2-A00F14CECBF0}" type="pres">
      <dgm:prSet presAssocID="{C45A2A82-72F7-4436-AC4D-282C806A0DF0}" presName="negativeSpace" presStyleCnt="0"/>
      <dgm:spPr/>
    </dgm:pt>
    <dgm:pt modelId="{03DAAD93-5684-4201-95B9-5C5C2F41C230}" type="pres">
      <dgm:prSet presAssocID="{C45A2A82-72F7-4436-AC4D-282C806A0DF0}" presName="childText" presStyleLbl="conFgAcc1" presStyleIdx="0" presStyleCnt="5">
        <dgm:presLayoutVars>
          <dgm:bulletEnabled val="1"/>
        </dgm:presLayoutVars>
      </dgm:prSet>
      <dgm:spPr/>
    </dgm:pt>
    <dgm:pt modelId="{552F8E52-F272-4684-97B5-EAA51FE7A6D7}" type="pres">
      <dgm:prSet presAssocID="{A84D4864-8441-4A3B-B096-66A8E882DC1F}" presName="spaceBetweenRectangles" presStyleCnt="0"/>
      <dgm:spPr/>
    </dgm:pt>
    <dgm:pt modelId="{3799764E-B68A-4B02-A898-2EDD0AC7A7F3}" type="pres">
      <dgm:prSet presAssocID="{220E06C6-3DB3-40F4-873C-65FF75EBA498}" presName="parentLin" presStyleCnt="0"/>
      <dgm:spPr/>
    </dgm:pt>
    <dgm:pt modelId="{AE72EAEB-B04F-414E-BB33-49E3A815B9C2}" type="pres">
      <dgm:prSet presAssocID="{220E06C6-3DB3-40F4-873C-65FF75EBA498}" presName="parentLeftMargin" presStyleLbl="node1" presStyleIdx="0" presStyleCnt="5"/>
      <dgm:spPr/>
    </dgm:pt>
    <dgm:pt modelId="{659DA338-078B-4DFB-8FF7-743B9AD5AAB3}" type="pres">
      <dgm:prSet presAssocID="{220E06C6-3DB3-40F4-873C-65FF75EBA498}" presName="parentText" presStyleLbl="node1" presStyleIdx="1" presStyleCnt="5">
        <dgm:presLayoutVars>
          <dgm:chMax val="0"/>
          <dgm:bulletEnabled val="1"/>
        </dgm:presLayoutVars>
      </dgm:prSet>
      <dgm:spPr/>
    </dgm:pt>
    <dgm:pt modelId="{5BE3EA9F-B4AB-49C9-895A-FCD8BE9B9B15}" type="pres">
      <dgm:prSet presAssocID="{220E06C6-3DB3-40F4-873C-65FF75EBA498}" presName="negativeSpace" presStyleCnt="0"/>
      <dgm:spPr/>
    </dgm:pt>
    <dgm:pt modelId="{B7C4E1B0-550B-4736-8581-0C332496A81D}" type="pres">
      <dgm:prSet presAssocID="{220E06C6-3DB3-40F4-873C-65FF75EBA498}" presName="childText" presStyleLbl="conFgAcc1" presStyleIdx="1" presStyleCnt="5">
        <dgm:presLayoutVars>
          <dgm:bulletEnabled val="1"/>
        </dgm:presLayoutVars>
      </dgm:prSet>
      <dgm:spPr/>
    </dgm:pt>
    <dgm:pt modelId="{85D5B6F3-55D8-4A17-A689-E96925B22DCB}" type="pres">
      <dgm:prSet presAssocID="{17C8FCFD-C7FD-4AC9-84AB-1ADC63797969}" presName="spaceBetweenRectangles" presStyleCnt="0"/>
      <dgm:spPr/>
    </dgm:pt>
    <dgm:pt modelId="{CA762D75-F15E-476D-9768-7E8E77F8298E}" type="pres">
      <dgm:prSet presAssocID="{5BDD7D2B-7EDB-4A84-B289-9598DE757001}" presName="parentLin" presStyleCnt="0"/>
      <dgm:spPr/>
    </dgm:pt>
    <dgm:pt modelId="{2239D60C-BCA1-49DF-BD60-866C53B4D2FE}" type="pres">
      <dgm:prSet presAssocID="{5BDD7D2B-7EDB-4A84-B289-9598DE757001}" presName="parentLeftMargin" presStyleLbl="node1" presStyleIdx="1" presStyleCnt="5"/>
      <dgm:spPr/>
    </dgm:pt>
    <dgm:pt modelId="{697004BA-36C2-42E0-9D43-3931F0BC4234}" type="pres">
      <dgm:prSet presAssocID="{5BDD7D2B-7EDB-4A84-B289-9598DE757001}" presName="parentText" presStyleLbl="node1" presStyleIdx="2" presStyleCnt="5">
        <dgm:presLayoutVars>
          <dgm:chMax val="0"/>
          <dgm:bulletEnabled val="1"/>
        </dgm:presLayoutVars>
      </dgm:prSet>
      <dgm:spPr/>
    </dgm:pt>
    <dgm:pt modelId="{47CEE927-27E1-4601-9593-0CD105272949}" type="pres">
      <dgm:prSet presAssocID="{5BDD7D2B-7EDB-4A84-B289-9598DE757001}" presName="negativeSpace" presStyleCnt="0"/>
      <dgm:spPr/>
    </dgm:pt>
    <dgm:pt modelId="{5D447A53-68F8-4074-8441-407E9A1C155B}" type="pres">
      <dgm:prSet presAssocID="{5BDD7D2B-7EDB-4A84-B289-9598DE757001}" presName="childText" presStyleLbl="conFgAcc1" presStyleIdx="2" presStyleCnt="5">
        <dgm:presLayoutVars>
          <dgm:bulletEnabled val="1"/>
        </dgm:presLayoutVars>
      </dgm:prSet>
      <dgm:spPr/>
    </dgm:pt>
    <dgm:pt modelId="{C5F587C3-FE70-4C52-97CA-FABADC8A45C8}" type="pres">
      <dgm:prSet presAssocID="{63432CA5-C4EE-4A36-B38F-930EC605F823}" presName="spaceBetweenRectangles" presStyleCnt="0"/>
      <dgm:spPr/>
    </dgm:pt>
    <dgm:pt modelId="{D08EB0B2-680C-4241-96FA-AF7FC0ACCB6F}" type="pres">
      <dgm:prSet presAssocID="{F345DD63-7B53-4033-8281-77EE5D85FAF2}" presName="parentLin" presStyleCnt="0"/>
      <dgm:spPr/>
    </dgm:pt>
    <dgm:pt modelId="{8B51C1D4-D5EB-499D-B80B-6716BB4EBDEE}" type="pres">
      <dgm:prSet presAssocID="{F345DD63-7B53-4033-8281-77EE5D85FAF2}" presName="parentLeftMargin" presStyleLbl="node1" presStyleIdx="2" presStyleCnt="5"/>
      <dgm:spPr/>
    </dgm:pt>
    <dgm:pt modelId="{7D9FFA24-BDB6-430C-A6FA-64F7C15D57E6}" type="pres">
      <dgm:prSet presAssocID="{F345DD63-7B53-4033-8281-77EE5D85FAF2}" presName="parentText" presStyleLbl="node1" presStyleIdx="3" presStyleCnt="5">
        <dgm:presLayoutVars>
          <dgm:chMax val="0"/>
          <dgm:bulletEnabled val="1"/>
        </dgm:presLayoutVars>
      </dgm:prSet>
      <dgm:spPr/>
    </dgm:pt>
    <dgm:pt modelId="{1376DE30-9263-4CD8-B0C8-5764B28AB126}" type="pres">
      <dgm:prSet presAssocID="{F345DD63-7B53-4033-8281-77EE5D85FAF2}" presName="negativeSpace" presStyleCnt="0"/>
      <dgm:spPr/>
    </dgm:pt>
    <dgm:pt modelId="{92C7A95B-A37F-49D2-8CE0-DF5D40993B0F}" type="pres">
      <dgm:prSet presAssocID="{F345DD63-7B53-4033-8281-77EE5D85FAF2}" presName="childText" presStyleLbl="conFgAcc1" presStyleIdx="3" presStyleCnt="5">
        <dgm:presLayoutVars>
          <dgm:bulletEnabled val="1"/>
        </dgm:presLayoutVars>
      </dgm:prSet>
      <dgm:spPr/>
    </dgm:pt>
    <dgm:pt modelId="{42D4BFED-FB6C-4C4E-89E8-6EC27BB32D36}" type="pres">
      <dgm:prSet presAssocID="{AFF9A283-BC91-403E-B768-2EC3F8E38997}" presName="spaceBetweenRectangles" presStyleCnt="0"/>
      <dgm:spPr/>
    </dgm:pt>
    <dgm:pt modelId="{2C4288DE-FC28-4DDD-B45C-C4A049250683}" type="pres">
      <dgm:prSet presAssocID="{DD9B8891-F74B-41FB-86C0-5762720A989B}" presName="parentLin" presStyleCnt="0"/>
      <dgm:spPr/>
    </dgm:pt>
    <dgm:pt modelId="{F5C877C8-6B90-42CE-A740-E932E344E18B}" type="pres">
      <dgm:prSet presAssocID="{DD9B8891-F74B-41FB-86C0-5762720A989B}" presName="parentLeftMargin" presStyleLbl="node1" presStyleIdx="3" presStyleCnt="5"/>
      <dgm:spPr/>
    </dgm:pt>
    <dgm:pt modelId="{4BA03F3D-9D1D-45AD-AB79-0F29DF473182}" type="pres">
      <dgm:prSet presAssocID="{DD9B8891-F74B-41FB-86C0-5762720A989B}" presName="parentText" presStyleLbl="node1" presStyleIdx="4" presStyleCnt="5">
        <dgm:presLayoutVars>
          <dgm:chMax val="0"/>
          <dgm:bulletEnabled val="1"/>
        </dgm:presLayoutVars>
      </dgm:prSet>
      <dgm:spPr/>
    </dgm:pt>
    <dgm:pt modelId="{4DDF693F-C718-488A-9069-89E897B60A0B}" type="pres">
      <dgm:prSet presAssocID="{DD9B8891-F74B-41FB-86C0-5762720A989B}" presName="negativeSpace" presStyleCnt="0"/>
      <dgm:spPr/>
    </dgm:pt>
    <dgm:pt modelId="{C89FEC4E-29F6-41F1-9E66-D053E54703A6}" type="pres">
      <dgm:prSet presAssocID="{DD9B8891-F74B-41FB-86C0-5762720A989B}" presName="childText" presStyleLbl="conFgAcc1" presStyleIdx="4" presStyleCnt="5">
        <dgm:presLayoutVars>
          <dgm:bulletEnabled val="1"/>
        </dgm:presLayoutVars>
      </dgm:prSet>
      <dgm:spPr/>
    </dgm:pt>
  </dgm:ptLst>
  <dgm:cxnLst>
    <dgm:cxn modelId="{B9E4FA10-21CD-4A33-91E6-16B99B2D6892}" type="presOf" srcId="{F345DD63-7B53-4033-8281-77EE5D85FAF2}" destId="{8B51C1D4-D5EB-499D-B80B-6716BB4EBDEE}" srcOrd="0" destOrd="0" presId="urn:microsoft.com/office/officeart/2005/8/layout/list1"/>
    <dgm:cxn modelId="{A74F0814-5D28-4EFA-8098-5C3D505FC8FD}" srcId="{CB545E2C-BBDC-4BBA-9018-C691FFD8EC86}" destId="{DD9B8891-F74B-41FB-86C0-5762720A989B}" srcOrd="4" destOrd="0" parTransId="{935BDDA6-9110-44F8-8085-9B50B64CDFFD}" sibTransId="{BD634B3F-1954-4FA0-8808-7313BBA46777}"/>
    <dgm:cxn modelId="{F95F1119-3CDC-4E8A-80DF-640E124A8AC9}" srcId="{CB545E2C-BBDC-4BBA-9018-C691FFD8EC86}" destId="{220E06C6-3DB3-40F4-873C-65FF75EBA498}" srcOrd="1" destOrd="0" parTransId="{1DFC1688-85F0-4D52-893B-202D5BA4FD95}" sibTransId="{17C8FCFD-C7FD-4AC9-84AB-1ADC63797969}"/>
    <dgm:cxn modelId="{FD238A2B-198E-42FC-821B-53B651EA5DD2}" srcId="{CB545E2C-BBDC-4BBA-9018-C691FFD8EC86}" destId="{F345DD63-7B53-4033-8281-77EE5D85FAF2}" srcOrd="3" destOrd="0" parTransId="{B9E35CE6-1EBD-444F-8E5A-D5D1EB169432}" sibTransId="{AFF9A283-BC91-403E-B768-2EC3F8E38997}"/>
    <dgm:cxn modelId="{38EAD731-8DE0-4873-989F-E0968A849945}" srcId="{F345DD63-7B53-4033-8281-77EE5D85FAF2}" destId="{5E90913C-A6C0-451E-97DD-8AC0D8B8C88D}" srcOrd="0" destOrd="0" parTransId="{F28CA800-32A5-4F1F-A300-86519F85B139}" sibTransId="{D9A2672E-6977-48B5-A9F4-30B586224790}"/>
    <dgm:cxn modelId="{0A51623A-19D9-4010-BB6E-97BB2D95B1CE}" type="presOf" srcId="{F345DD63-7B53-4033-8281-77EE5D85FAF2}" destId="{7D9FFA24-BDB6-430C-A6FA-64F7C15D57E6}" srcOrd="1" destOrd="0" presId="urn:microsoft.com/office/officeart/2005/8/layout/list1"/>
    <dgm:cxn modelId="{090BF65F-04C8-4AA6-A06E-C7A2682DC53B}" type="presOf" srcId="{220E06C6-3DB3-40F4-873C-65FF75EBA498}" destId="{AE72EAEB-B04F-414E-BB33-49E3A815B9C2}" srcOrd="0" destOrd="0" presId="urn:microsoft.com/office/officeart/2005/8/layout/list1"/>
    <dgm:cxn modelId="{A8C70C62-43B9-4F91-AB06-0F2C742AA33E}" type="presOf" srcId="{C45A2A82-72F7-4436-AC4D-282C806A0DF0}" destId="{2843B0D6-7C0F-4772-8A2C-7B3190D85E02}" srcOrd="0" destOrd="0" presId="urn:microsoft.com/office/officeart/2005/8/layout/list1"/>
    <dgm:cxn modelId="{8102CC63-8C0B-4AEA-978C-9B8B33A2D29E}" type="presOf" srcId="{A651C10B-48C1-44F0-9C10-3B640F8068F4}" destId="{C89FEC4E-29F6-41F1-9E66-D053E54703A6}" srcOrd="0" destOrd="1" presId="urn:microsoft.com/office/officeart/2005/8/layout/list1"/>
    <dgm:cxn modelId="{B7111B6A-9318-4BA3-8ACD-1305D2997ED9}" srcId="{CB545E2C-BBDC-4BBA-9018-C691FFD8EC86}" destId="{5BDD7D2B-7EDB-4A84-B289-9598DE757001}" srcOrd="2" destOrd="0" parTransId="{663C54D7-BC3F-4D91-9678-677E85B78776}" sibTransId="{63432CA5-C4EE-4A36-B38F-930EC605F823}"/>
    <dgm:cxn modelId="{1592564B-C5AC-49E3-B561-30F2BDF30DBC}" type="presOf" srcId="{220E06C6-3DB3-40F4-873C-65FF75EBA498}" destId="{659DA338-078B-4DFB-8FF7-743B9AD5AAB3}" srcOrd="1" destOrd="0" presId="urn:microsoft.com/office/officeart/2005/8/layout/list1"/>
    <dgm:cxn modelId="{C2F7116C-A24D-47AC-9F1D-F23397D18F3F}" type="presOf" srcId="{B8B90E44-6D59-4DE5-B968-E18F1DFA5392}" destId="{5D447A53-68F8-4074-8441-407E9A1C155B}" srcOrd="0" destOrd="0" presId="urn:microsoft.com/office/officeart/2005/8/layout/list1"/>
    <dgm:cxn modelId="{304DA54C-6191-450D-BDA7-D5D2324557F1}" srcId="{DD9B8891-F74B-41FB-86C0-5762720A989B}" destId="{64E39621-9790-48A9-8540-26221DEC8877}" srcOrd="0" destOrd="0" parTransId="{721EC739-E249-4AF7-95FC-5A37560FC99E}" sibTransId="{D8AB948B-28D0-4139-95FA-5212AA57100F}"/>
    <dgm:cxn modelId="{9B9FCD4D-90BC-4792-98C8-BF3BB2C2EBC3}" type="presOf" srcId="{5BDD7D2B-7EDB-4A84-B289-9598DE757001}" destId="{2239D60C-BCA1-49DF-BD60-866C53B4D2FE}" srcOrd="0" destOrd="0" presId="urn:microsoft.com/office/officeart/2005/8/layout/list1"/>
    <dgm:cxn modelId="{D7E4C46F-3D9A-424E-A227-1148137D4CCE}" srcId="{220E06C6-3DB3-40F4-873C-65FF75EBA498}" destId="{EF72FBCE-C45E-47C0-927F-5E3CBE7C0125}" srcOrd="0" destOrd="0" parTransId="{A21F4D49-D43E-40CB-AF97-88D7D7B3D27C}" sibTransId="{B9AEBFE9-4998-4D23-9458-D903E0CBC137}"/>
    <dgm:cxn modelId="{BDABB07C-3E12-4432-BA30-5EDF0DF83C1F}" type="presOf" srcId="{CB545E2C-BBDC-4BBA-9018-C691FFD8EC86}" destId="{08FB1EB6-A1A1-4C9E-9CA5-2AA937AD51E1}" srcOrd="0" destOrd="0" presId="urn:microsoft.com/office/officeart/2005/8/layout/list1"/>
    <dgm:cxn modelId="{397F8286-3D9F-48C3-B2FF-BE016B69CA65}" type="presOf" srcId="{5E54F4F9-9770-4B8B-8980-7A494B0BA695}" destId="{5D447A53-68F8-4074-8441-407E9A1C155B}" srcOrd="0" destOrd="1" presId="urn:microsoft.com/office/officeart/2005/8/layout/list1"/>
    <dgm:cxn modelId="{1F746B8C-F241-4290-837C-87791A663F15}" srcId="{DD9B8891-F74B-41FB-86C0-5762720A989B}" destId="{A651C10B-48C1-44F0-9C10-3B640F8068F4}" srcOrd="1" destOrd="0" parTransId="{A8C6F73E-BCD3-4C83-B372-2E046059A487}" sibTransId="{E1D415A3-B46E-4F0C-A4F6-FEF244AB6BE2}"/>
    <dgm:cxn modelId="{C57AC191-8B9F-43A6-824E-AB3712DF373C}" type="presOf" srcId="{5E90913C-A6C0-451E-97DD-8AC0D8B8C88D}" destId="{92C7A95B-A37F-49D2-8CE0-DF5D40993B0F}" srcOrd="0" destOrd="0" presId="urn:microsoft.com/office/officeart/2005/8/layout/list1"/>
    <dgm:cxn modelId="{5178D39A-1AF9-4D28-ACF0-E529C042B1AB}" srcId="{5BDD7D2B-7EDB-4A84-B289-9598DE757001}" destId="{B8B90E44-6D59-4DE5-B968-E18F1DFA5392}" srcOrd="0" destOrd="0" parTransId="{79470423-F689-432D-A5C1-447E220C28AB}" sibTransId="{3E5E9AFB-E52F-4527-9E7F-CDF80F4B085B}"/>
    <dgm:cxn modelId="{1186469C-0975-48A9-9EFD-2111AE19178C}" type="presOf" srcId="{4966BF5C-B3A4-4080-9EA9-9851EFE63256}" destId="{03DAAD93-5684-4201-95B9-5C5C2F41C230}" srcOrd="0" destOrd="0" presId="urn:microsoft.com/office/officeart/2005/8/layout/list1"/>
    <dgm:cxn modelId="{FCE68EA4-BB28-4A76-A4B8-1C1304D862D5}" type="presOf" srcId="{EF72FBCE-C45E-47C0-927F-5E3CBE7C0125}" destId="{B7C4E1B0-550B-4736-8581-0C332496A81D}" srcOrd="0" destOrd="0" presId="urn:microsoft.com/office/officeart/2005/8/layout/list1"/>
    <dgm:cxn modelId="{17C0FBB5-9956-4C3F-A957-3491371E8620}" type="presOf" srcId="{5BDD7D2B-7EDB-4A84-B289-9598DE757001}" destId="{697004BA-36C2-42E0-9D43-3931F0BC4234}" srcOrd="1" destOrd="0" presId="urn:microsoft.com/office/officeart/2005/8/layout/list1"/>
    <dgm:cxn modelId="{92BA85B9-7654-4C68-8D4F-F62FADD96DEA}" srcId="{5BDD7D2B-7EDB-4A84-B289-9598DE757001}" destId="{5E54F4F9-9770-4B8B-8980-7A494B0BA695}" srcOrd="1" destOrd="0" parTransId="{E2088E7F-9D68-4606-B141-B2BD4C23526D}" sibTransId="{EC4D3B5D-253B-48EB-A2F3-914D67F794D7}"/>
    <dgm:cxn modelId="{CEBFEFBB-FDDA-4CDB-80A3-897A7D41B00E}" type="presOf" srcId="{DD9B8891-F74B-41FB-86C0-5762720A989B}" destId="{F5C877C8-6B90-42CE-A740-E932E344E18B}" srcOrd="0" destOrd="0" presId="urn:microsoft.com/office/officeart/2005/8/layout/list1"/>
    <dgm:cxn modelId="{3732C9BF-0C70-45B5-98DC-C2B6541CD45A}" srcId="{CB545E2C-BBDC-4BBA-9018-C691FFD8EC86}" destId="{C45A2A82-72F7-4436-AC4D-282C806A0DF0}" srcOrd="0" destOrd="0" parTransId="{45FD0928-FC34-4468-9104-D2B4752ED4DE}" sibTransId="{A84D4864-8441-4A3B-B096-66A8E882DC1F}"/>
    <dgm:cxn modelId="{E4E07DC4-666A-4179-BFA3-D09AB4B1F1BC}" type="presOf" srcId="{DD9B8891-F74B-41FB-86C0-5762720A989B}" destId="{4BA03F3D-9D1D-45AD-AB79-0F29DF473182}" srcOrd="1" destOrd="0" presId="urn:microsoft.com/office/officeart/2005/8/layout/list1"/>
    <dgm:cxn modelId="{91C59FC5-7BBD-4F35-8E5F-A4C31DA0D399}" type="presOf" srcId="{377E97FB-309D-4031-B9D3-37183B6F4C40}" destId="{C89FEC4E-29F6-41F1-9E66-D053E54703A6}" srcOrd="0" destOrd="2" presId="urn:microsoft.com/office/officeart/2005/8/layout/list1"/>
    <dgm:cxn modelId="{0A4E92C7-A951-47B3-AB7C-5589B2CF8D1C}" srcId="{DD9B8891-F74B-41FB-86C0-5762720A989B}" destId="{377E97FB-309D-4031-B9D3-37183B6F4C40}" srcOrd="2" destOrd="0" parTransId="{8DF909E9-F419-43CE-8A6D-8A3AB7F5D1CE}" sibTransId="{378B8D5B-965E-4BBF-979F-5CD2627B952E}"/>
    <dgm:cxn modelId="{B5C472CB-435D-443F-A3B1-938B8D23A52C}" type="presOf" srcId="{C45A2A82-72F7-4436-AC4D-282C806A0DF0}" destId="{6B258DE7-67F3-47A6-820F-1B85C658002A}" srcOrd="1" destOrd="0" presId="urn:microsoft.com/office/officeart/2005/8/layout/list1"/>
    <dgm:cxn modelId="{E07953ED-F6D1-441A-9B99-23CEB95D7358}" srcId="{C45A2A82-72F7-4436-AC4D-282C806A0DF0}" destId="{4966BF5C-B3A4-4080-9EA9-9851EFE63256}" srcOrd="0" destOrd="0" parTransId="{49983C3C-3ECB-4A6C-B47F-C1D28D83BBFE}" sibTransId="{61BEC369-6CCD-4116-BD79-1533D00A6093}"/>
    <dgm:cxn modelId="{872E87F0-012F-4FA5-B563-EA75A96056C8}" type="presOf" srcId="{64E39621-9790-48A9-8540-26221DEC8877}" destId="{C89FEC4E-29F6-41F1-9E66-D053E54703A6}" srcOrd="0" destOrd="0" presId="urn:microsoft.com/office/officeart/2005/8/layout/list1"/>
    <dgm:cxn modelId="{FCC64024-CB07-431D-98E1-EFC1EB47447C}" type="presParOf" srcId="{08FB1EB6-A1A1-4C9E-9CA5-2AA937AD51E1}" destId="{81C3A6D5-1BE8-4517-8194-E77761924686}" srcOrd="0" destOrd="0" presId="urn:microsoft.com/office/officeart/2005/8/layout/list1"/>
    <dgm:cxn modelId="{E98779B2-A67A-4390-90F8-04673138AD9C}" type="presParOf" srcId="{81C3A6D5-1BE8-4517-8194-E77761924686}" destId="{2843B0D6-7C0F-4772-8A2C-7B3190D85E02}" srcOrd="0" destOrd="0" presId="urn:microsoft.com/office/officeart/2005/8/layout/list1"/>
    <dgm:cxn modelId="{CE998C4C-0BBC-45D5-BB59-5F1ABD866F00}" type="presParOf" srcId="{81C3A6D5-1BE8-4517-8194-E77761924686}" destId="{6B258DE7-67F3-47A6-820F-1B85C658002A}" srcOrd="1" destOrd="0" presId="urn:microsoft.com/office/officeart/2005/8/layout/list1"/>
    <dgm:cxn modelId="{FDDFF426-3EE9-49B6-93DD-A45BDA0DEB15}" type="presParOf" srcId="{08FB1EB6-A1A1-4C9E-9CA5-2AA937AD51E1}" destId="{9BA18E2D-9DCC-4695-84C2-A00F14CECBF0}" srcOrd="1" destOrd="0" presId="urn:microsoft.com/office/officeart/2005/8/layout/list1"/>
    <dgm:cxn modelId="{37E22484-FF28-4084-97B2-C40A80FB0A12}" type="presParOf" srcId="{08FB1EB6-A1A1-4C9E-9CA5-2AA937AD51E1}" destId="{03DAAD93-5684-4201-95B9-5C5C2F41C230}" srcOrd="2" destOrd="0" presId="urn:microsoft.com/office/officeart/2005/8/layout/list1"/>
    <dgm:cxn modelId="{DEB01393-C8E8-48CD-B7C9-3E7DD65E2FAA}" type="presParOf" srcId="{08FB1EB6-A1A1-4C9E-9CA5-2AA937AD51E1}" destId="{552F8E52-F272-4684-97B5-EAA51FE7A6D7}" srcOrd="3" destOrd="0" presId="urn:microsoft.com/office/officeart/2005/8/layout/list1"/>
    <dgm:cxn modelId="{36C1B0F9-D8AB-4D52-AECF-ED3DEF600148}" type="presParOf" srcId="{08FB1EB6-A1A1-4C9E-9CA5-2AA937AD51E1}" destId="{3799764E-B68A-4B02-A898-2EDD0AC7A7F3}" srcOrd="4" destOrd="0" presId="urn:microsoft.com/office/officeart/2005/8/layout/list1"/>
    <dgm:cxn modelId="{0E075BEE-3FF8-46D9-9B75-935BA7EE062B}" type="presParOf" srcId="{3799764E-B68A-4B02-A898-2EDD0AC7A7F3}" destId="{AE72EAEB-B04F-414E-BB33-49E3A815B9C2}" srcOrd="0" destOrd="0" presId="urn:microsoft.com/office/officeart/2005/8/layout/list1"/>
    <dgm:cxn modelId="{6054F4EB-0047-4074-BF18-1931BF322678}" type="presParOf" srcId="{3799764E-B68A-4B02-A898-2EDD0AC7A7F3}" destId="{659DA338-078B-4DFB-8FF7-743B9AD5AAB3}" srcOrd="1" destOrd="0" presId="urn:microsoft.com/office/officeart/2005/8/layout/list1"/>
    <dgm:cxn modelId="{B3DD54BC-756C-4BEA-817B-57E8A639711F}" type="presParOf" srcId="{08FB1EB6-A1A1-4C9E-9CA5-2AA937AD51E1}" destId="{5BE3EA9F-B4AB-49C9-895A-FCD8BE9B9B15}" srcOrd="5" destOrd="0" presId="urn:microsoft.com/office/officeart/2005/8/layout/list1"/>
    <dgm:cxn modelId="{4CD93AC0-885D-4115-B4A4-B2A82ED398BF}" type="presParOf" srcId="{08FB1EB6-A1A1-4C9E-9CA5-2AA937AD51E1}" destId="{B7C4E1B0-550B-4736-8581-0C332496A81D}" srcOrd="6" destOrd="0" presId="urn:microsoft.com/office/officeart/2005/8/layout/list1"/>
    <dgm:cxn modelId="{14D04E13-A61E-4DD0-9297-FCE296F72DA3}" type="presParOf" srcId="{08FB1EB6-A1A1-4C9E-9CA5-2AA937AD51E1}" destId="{85D5B6F3-55D8-4A17-A689-E96925B22DCB}" srcOrd="7" destOrd="0" presId="urn:microsoft.com/office/officeart/2005/8/layout/list1"/>
    <dgm:cxn modelId="{860CD6D7-CF58-4300-BB6D-F31B5145F915}" type="presParOf" srcId="{08FB1EB6-A1A1-4C9E-9CA5-2AA937AD51E1}" destId="{CA762D75-F15E-476D-9768-7E8E77F8298E}" srcOrd="8" destOrd="0" presId="urn:microsoft.com/office/officeart/2005/8/layout/list1"/>
    <dgm:cxn modelId="{E5217321-0F59-484A-BA5B-9FADAF3F5286}" type="presParOf" srcId="{CA762D75-F15E-476D-9768-7E8E77F8298E}" destId="{2239D60C-BCA1-49DF-BD60-866C53B4D2FE}" srcOrd="0" destOrd="0" presId="urn:microsoft.com/office/officeart/2005/8/layout/list1"/>
    <dgm:cxn modelId="{1F047B30-AE00-4A05-A7BC-BE34170BE513}" type="presParOf" srcId="{CA762D75-F15E-476D-9768-7E8E77F8298E}" destId="{697004BA-36C2-42E0-9D43-3931F0BC4234}" srcOrd="1" destOrd="0" presId="urn:microsoft.com/office/officeart/2005/8/layout/list1"/>
    <dgm:cxn modelId="{1E06ACEC-9340-4C20-BC82-AD9E8A862668}" type="presParOf" srcId="{08FB1EB6-A1A1-4C9E-9CA5-2AA937AD51E1}" destId="{47CEE927-27E1-4601-9593-0CD105272949}" srcOrd="9" destOrd="0" presId="urn:microsoft.com/office/officeart/2005/8/layout/list1"/>
    <dgm:cxn modelId="{0BDD0541-EFC1-47AF-9480-0389E345844C}" type="presParOf" srcId="{08FB1EB6-A1A1-4C9E-9CA5-2AA937AD51E1}" destId="{5D447A53-68F8-4074-8441-407E9A1C155B}" srcOrd="10" destOrd="0" presId="urn:microsoft.com/office/officeart/2005/8/layout/list1"/>
    <dgm:cxn modelId="{3D1F68AD-B01B-417A-AE6C-31606F03784F}" type="presParOf" srcId="{08FB1EB6-A1A1-4C9E-9CA5-2AA937AD51E1}" destId="{C5F587C3-FE70-4C52-97CA-FABADC8A45C8}" srcOrd="11" destOrd="0" presId="urn:microsoft.com/office/officeart/2005/8/layout/list1"/>
    <dgm:cxn modelId="{1D12CD19-DA35-444E-B71D-06110DE2F604}" type="presParOf" srcId="{08FB1EB6-A1A1-4C9E-9CA5-2AA937AD51E1}" destId="{D08EB0B2-680C-4241-96FA-AF7FC0ACCB6F}" srcOrd="12" destOrd="0" presId="urn:microsoft.com/office/officeart/2005/8/layout/list1"/>
    <dgm:cxn modelId="{39A9AE43-118B-4A8A-BB4D-D24B0AEF09F8}" type="presParOf" srcId="{D08EB0B2-680C-4241-96FA-AF7FC0ACCB6F}" destId="{8B51C1D4-D5EB-499D-B80B-6716BB4EBDEE}" srcOrd="0" destOrd="0" presId="urn:microsoft.com/office/officeart/2005/8/layout/list1"/>
    <dgm:cxn modelId="{DA475BAD-3930-4C83-913F-788EB8916A3C}" type="presParOf" srcId="{D08EB0B2-680C-4241-96FA-AF7FC0ACCB6F}" destId="{7D9FFA24-BDB6-430C-A6FA-64F7C15D57E6}" srcOrd="1" destOrd="0" presId="urn:microsoft.com/office/officeart/2005/8/layout/list1"/>
    <dgm:cxn modelId="{8D39A03C-7F00-4F0D-92A8-C3B6AF5A36BB}" type="presParOf" srcId="{08FB1EB6-A1A1-4C9E-9CA5-2AA937AD51E1}" destId="{1376DE30-9263-4CD8-B0C8-5764B28AB126}" srcOrd="13" destOrd="0" presId="urn:microsoft.com/office/officeart/2005/8/layout/list1"/>
    <dgm:cxn modelId="{28D4DD42-F41D-4BCD-A430-13C36608DE05}" type="presParOf" srcId="{08FB1EB6-A1A1-4C9E-9CA5-2AA937AD51E1}" destId="{92C7A95B-A37F-49D2-8CE0-DF5D40993B0F}" srcOrd="14" destOrd="0" presId="urn:microsoft.com/office/officeart/2005/8/layout/list1"/>
    <dgm:cxn modelId="{054CDBAD-3E28-48C0-88A7-EBB845F5E198}" type="presParOf" srcId="{08FB1EB6-A1A1-4C9E-9CA5-2AA937AD51E1}" destId="{42D4BFED-FB6C-4C4E-89E8-6EC27BB32D36}" srcOrd="15" destOrd="0" presId="urn:microsoft.com/office/officeart/2005/8/layout/list1"/>
    <dgm:cxn modelId="{F81BC867-626C-4758-9789-8F1ADD4AB093}" type="presParOf" srcId="{08FB1EB6-A1A1-4C9E-9CA5-2AA937AD51E1}" destId="{2C4288DE-FC28-4DDD-B45C-C4A049250683}" srcOrd="16" destOrd="0" presId="urn:microsoft.com/office/officeart/2005/8/layout/list1"/>
    <dgm:cxn modelId="{AED9966F-1DA5-4D08-87CF-815EE0E5EBEE}" type="presParOf" srcId="{2C4288DE-FC28-4DDD-B45C-C4A049250683}" destId="{F5C877C8-6B90-42CE-A740-E932E344E18B}" srcOrd="0" destOrd="0" presId="urn:microsoft.com/office/officeart/2005/8/layout/list1"/>
    <dgm:cxn modelId="{24C7D903-1396-4DA3-9D54-AF387588B497}" type="presParOf" srcId="{2C4288DE-FC28-4DDD-B45C-C4A049250683}" destId="{4BA03F3D-9D1D-45AD-AB79-0F29DF473182}" srcOrd="1" destOrd="0" presId="urn:microsoft.com/office/officeart/2005/8/layout/list1"/>
    <dgm:cxn modelId="{1BD58D53-C2C1-40DE-92D7-8BD56FCFCD4D}" type="presParOf" srcId="{08FB1EB6-A1A1-4C9E-9CA5-2AA937AD51E1}" destId="{4DDF693F-C718-488A-9069-89E897B60A0B}" srcOrd="17" destOrd="0" presId="urn:microsoft.com/office/officeart/2005/8/layout/list1"/>
    <dgm:cxn modelId="{9F085069-C664-4700-9645-6AF10B23002D}" type="presParOf" srcId="{08FB1EB6-A1A1-4C9E-9CA5-2AA937AD51E1}" destId="{C89FEC4E-29F6-41F1-9E66-D053E54703A6}"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58313F-9DE1-4E96-A788-2DBC72FED5EA}">
      <dsp:nvSpPr>
        <dsp:cNvPr id="0" name=""/>
        <dsp:cNvSpPr/>
      </dsp:nvSpPr>
      <dsp:spPr>
        <a:xfrm>
          <a:off x="0" y="580585"/>
          <a:ext cx="10880723" cy="882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ABF26A1-E35D-40CE-9C6A-6D9293AC9DE6}">
      <dsp:nvSpPr>
        <dsp:cNvPr id="0" name=""/>
        <dsp:cNvSpPr/>
      </dsp:nvSpPr>
      <dsp:spPr>
        <a:xfrm>
          <a:off x="544036" y="63985"/>
          <a:ext cx="7616506" cy="1033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555750">
            <a:lnSpc>
              <a:spcPct val="90000"/>
            </a:lnSpc>
            <a:spcBef>
              <a:spcPct val="0"/>
            </a:spcBef>
            <a:spcAft>
              <a:spcPct val="35000"/>
            </a:spcAft>
            <a:buNone/>
          </a:pPr>
          <a:endParaRPr lang="en-US" sz="3500" kern="1200"/>
        </a:p>
      </dsp:txBody>
      <dsp:txXfrm>
        <a:off x="594473" y="114422"/>
        <a:ext cx="7515632" cy="932326"/>
      </dsp:txXfrm>
    </dsp:sp>
    <dsp:sp modelId="{1DA964AC-4A55-4A27-8D2A-96D58EBA493A}">
      <dsp:nvSpPr>
        <dsp:cNvPr id="0" name=""/>
        <dsp:cNvSpPr/>
      </dsp:nvSpPr>
      <dsp:spPr>
        <a:xfrm>
          <a:off x="0" y="2168185"/>
          <a:ext cx="10880723" cy="882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F7B2DF3-2C7C-490E-B6A4-FC8E9C8E88C9}">
      <dsp:nvSpPr>
        <dsp:cNvPr id="0" name=""/>
        <dsp:cNvSpPr/>
      </dsp:nvSpPr>
      <dsp:spPr>
        <a:xfrm>
          <a:off x="544036" y="1651585"/>
          <a:ext cx="7616506" cy="1033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555750">
            <a:lnSpc>
              <a:spcPct val="90000"/>
            </a:lnSpc>
            <a:spcBef>
              <a:spcPct val="0"/>
            </a:spcBef>
            <a:spcAft>
              <a:spcPct val="35000"/>
            </a:spcAft>
            <a:buNone/>
          </a:pPr>
          <a:endParaRPr lang="en-US" sz="3500" kern="1200"/>
        </a:p>
      </dsp:txBody>
      <dsp:txXfrm>
        <a:off x="594473" y="1702022"/>
        <a:ext cx="7515632" cy="932326"/>
      </dsp:txXfrm>
    </dsp:sp>
    <dsp:sp modelId="{28C15B55-83BE-4F22-AB61-34F84B57745B}">
      <dsp:nvSpPr>
        <dsp:cNvPr id="0" name=""/>
        <dsp:cNvSpPr/>
      </dsp:nvSpPr>
      <dsp:spPr>
        <a:xfrm>
          <a:off x="0" y="3755785"/>
          <a:ext cx="10880723" cy="882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C44156B-E35B-4AA6-BAAD-A093BF798483}">
      <dsp:nvSpPr>
        <dsp:cNvPr id="0" name=""/>
        <dsp:cNvSpPr/>
      </dsp:nvSpPr>
      <dsp:spPr>
        <a:xfrm>
          <a:off x="544036" y="3239185"/>
          <a:ext cx="7616506" cy="1033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555750">
            <a:lnSpc>
              <a:spcPct val="90000"/>
            </a:lnSpc>
            <a:spcBef>
              <a:spcPct val="0"/>
            </a:spcBef>
            <a:spcAft>
              <a:spcPct val="35000"/>
            </a:spcAft>
            <a:buNone/>
          </a:pPr>
          <a:endParaRPr lang="en-US" sz="3500" kern="1200"/>
        </a:p>
      </dsp:txBody>
      <dsp:txXfrm>
        <a:off x="594473" y="3289622"/>
        <a:ext cx="7515632" cy="93232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095D40-F0F1-448D-AE18-C1AF14B8DD72}">
      <dsp:nvSpPr>
        <dsp:cNvPr id="0" name=""/>
        <dsp:cNvSpPr/>
      </dsp:nvSpPr>
      <dsp:spPr>
        <a:xfrm>
          <a:off x="0" y="2353"/>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C34DE11-3B1E-4409-9E12-FB39F116F617}">
      <dsp:nvSpPr>
        <dsp:cNvPr id="0" name=""/>
        <dsp:cNvSpPr/>
      </dsp:nvSpPr>
      <dsp:spPr>
        <a:xfrm>
          <a:off x="0" y="2353"/>
          <a:ext cx="2176145" cy="16049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AU" sz="2300" kern="1200" baseline="0" dirty="0"/>
            <a:t>You can manage Microsoft 365 licenses using </a:t>
          </a:r>
          <a:endParaRPr lang="en-US" sz="2300" kern="1200" dirty="0"/>
        </a:p>
      </dsp:txBody>
      <dsp:txXfrm>
        <a:off x="0" y="2353"/>
        <a:ext cx="2176145" cy="1604981"/>
      </dsp:txXfrm>
    </dsp:sp>
    <dsp:sp modelId="{1D3889FB-C3B6-49CE-A877-A6620671FEA2}">
      <dsp:nvSpPr>
        <dsp:cNvPr id="0" name=""/>
        <dsp:cNvSpPr/>
      </dsp:nvSpPr>
      <dsp:spPr>
        <a:xfrm>
          <a:off x="2339356" y="27431"/>
          <a:ext cx="8541369" cy="501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AU" sz="1400" kern="1200" baseline="0" dirty="0"/>
            <a:t>Microsoft 365 Admin </a:t>
          </a:r>
          <a:r>
            <a:rPr lang="en-US" sz="1400" kern="1200" baseline="0" dirty="0"/>
            <a:t>Center (Management Interface)</a:t>
          </a:r>
          <a:endParaRPr lang="en-US" sz="1400" kern="1200" dirty="0"/>
        </a:p>
      </dsp:txBody>
      <dsp:txXfrm>
        <a:off x="2339356" y="27431"/>
        <a:ext cx="8541369" cy="501556"/>
      </dsp:txXfrm>
    </dsp:sp>
    <dsp:sp modelId="{25DCD9DA-6060-4104-820A-5FFCA422E11C}">
      <dsp:nvSpPr>
        <dsp:cNvPr id="0" name=""/>
        <dsp:cNvSpPr/>
      </dsp:nvSpPr>
      <dsp:spPr>
        <a:xfrm>
          <a:off x="2176145" y="528987"/>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403359E-AB60-486C-A8B2-C4271F2B8C73}">
      <dsp:nvSpPr>
        <dsp:cNvPr id="0" name=""/>
        <dsp:cNvSpPr/>
      </dsp:nvSpPr>
      <dsp:spPr>
        <a:xfrm>
          <a:off x="2339356" y="554065"/>
          <a:ext cx="8541369" cy="501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baseline="0"/>
            <a:t>Azure Active Directory PowerShell for Graph (Management Shell)</a:t>
          </a:r>
          <a:endParaRPr lang="en-US" sz="1400" kern="1200"/>
        </a:p>
      </dsp:txBody>
      <dsp:txXfrm>
        <a:off x="2339356" y="554065"/>
        <a:ext cx="8541369" cy="501556"/>
      </dsp:txXfrm>
    </dsp:sp>
    <dsp:sp modelId="{44C5EAAD-6D73-4C14-B126-5510D9624458}">
      <dsp:nvSpPr>
        <dsp:cNvPr id="0" name=""/>
        <dsp:cNvSpPr/>
      </dsp:nvSpPr>
      <dsp:spPr>
        <a:xfrm>
          <a:off x="2176145" y="1055622"/>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EB24786-ECB6-45FC-85C1-449A1775C03E}">
      <dsp:nvSpPr>
        <dsp:cNvPr id="0" name=""/>
        <dsp:cNvSpPr/>
      </dsp:nvSpPr>
      <dsp:spPr>
        <a:xfrm>
          <a:off x="2339356" y="1080700"/>
          <a:ext cx="8541369" cy="501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baseline="0"/>
            <a:t>Group-based licensing in Azure Active Directory (Management Interface)</a:t>
          </a:r>
          <a:endParaRPr lang="en-US" sz="1400" kern="1200"/>
        </a:p>
      </dsp:txBody>
      <dsp:txXfrm>
        <a:off x="2339356" y="1080700"/>
        <a:ext cx="8541369" cy="501556"/>
      </dsp:txXfrm>
    </dsp:sp>
    <dsp:sp modelId="{A71C0F45-7D2A-4346-8E5B-C569C8FD85E8}">
      <dsp:nvSpPr>
        <dsp:cNvPr id="0" name=""/>
        <dsp:cNvSpPr/>
      </dsp:nvSpPr>
      <dsp:spPr>
        <a:xfrm>
          <a:off x="2176145" y="1582256"/>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86E14DD-C734-427F-B406-6FFE9E9BC356}">
      <dsp:nvSpPr>
        <dsp:cNvPr id="0" name=""/>
        <dsp:cNvSpPr/>
      </dsp:nvSpPr>
      <dsp:spPr>
        <a:xfrm>
          <a:off x="0" y="1607334"/>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1561897-6BE4-4132-8497-D2747E035F78}">
      <dsp:nvSpPr>
        <dsp:cNvPr id="0" name=""/>
        <dsp:cNvSpPr/>
      </dsp:nvSpPr>
      <dsp:spPr>
        <a:xfrm>
          <a:off x="0" y="1607334"/>
          <a:ext cx="2176145" cy="16049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AU" sz="2300" kern="1200" baseline="0"/>
            <a:t>Best practice:</a:t>
          </a:r>
          <a:endParaRPr lang="en-US" sz="2300" kern="1200"/>
        </a:p>
      </dsp:txBody>
      <dsp:txXfrm>
        <a:off x="0" y="1607334"/>
        <a:ext cx="2176145" cy="1604981"/>
      </dsp:txXfrm>
    </dsp:sp>
    <dsp:sp modelId="{0F5A1D66-5636-4AE5-AF6B-D19E3098CEEB}">
      <dsp:nvSpPr>
        <dsp:cNvPr id="0" name=""/>
        <dsp:cNvSpPr/>
      </dsp:nvSpPr>
      <dsp:spPr>
        <a:xfrm>
          <a:off x="2339356" y="1680216"/>
          <a:ext cx="8541369" cy="1457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AU" sz="1400" kern="1200" baseline="0"/>
            <a:t>Group based licensing in Azure Active Directory.</a:t>
          </a:r>
          <a:endParaRPr lang="en-US" sz="1400" kern="1200"/>
        </a:p>
      </dsp:txBody>
      <dsp:txXfrm>
        <a:off x="2339356" y="1680216"/>
        <a:ext cx="8541369" cy="1457648"/>
      </dsp:txXfrm>
    </dsp:sp>
    <dsp:sp modelId="{2EE86001-42C3-4E1D-B1B4-9FFC33211EF9}">
      <dsp:nvSpPr>
        <dsp:cNvPr id="0" name=""/>
        <dsp:cNvSpPr/>
      </dsp:nvSpPr>
      <dsp:spPr>
        <a:xfrm>
          <a:off x="2176145" y="3137865"/>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194FFB7-31BD-45E2-9EC3-CEA87DD43B06}">
      <dsp:nvSpPr>
        <dsp:cNvPr id="0" name=""/>
        <dsp:cNvSpPr/>
      </dsp:nvSpPr>
      <dsp:spPr>
        <a:xfrm>
          <a:off x="0" y="3212315"/>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2A610E-01F1-47A4-B6E7-C642BDC4114B}">
      <dsp:nvSpPr>
        <dsp:cNvPr id="0" name=""/>
        <dsp:cNvSpPr/>
      </dsp:nvSpPr>
      <dsp:spPr>
        <a:xfrm>
          <a:off x="0" y="3212315"/>
          <a:ext cx="2176145" cy="16049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AU" sz="2300" kern="1200" baseline="0"/>
            <a:t>If a SharePoint license is assigned, and then removed: </a:t>
          </a:r>
          <a:endParaRPr lang="en-US" sz="2300" kern="1200"/>
        </a:p>
      </dsp:txBody>
      <dsp:txXfrm>
        <a:off x="0" y="3212315"/>
        <a:ext cx="2176145" cy="1604981"/>
      </dsp:txXfrm>
    </dsp:sp>
    <dsp:sp modelId="{B221210C-A8C1-43A5-B513-5B3D6725E00E}">
      <dsp:nvSpPr>
        <dsp:cNvPr id="0" name=""/>
        <dsp:cNvSpPr/>
      </dsp:nvSpPr>
      <dsp:spPr>
        <a:xfrm>
          <a:off x="2339356" y="3231182"/>
          <a:ext cx="8541369" cy="3773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AU" sz="1400" kern="1200" baseline="0"/>
            <a:t>A user’s content in SharePoint Online will remain in SharePoint Online</a:t>
          </a:r>
          <a:endParaRPr lang="en-US" sz="1400" kern="1200"/>
        </a:p>
      </dsp:txBody>
      <dsp:txXfrm>
        <a:off x="2339356" y="3231182"/>
        <a:ext cx="8541369" cy="377342"/>
      </dsp:txXfrm>
    </dsp:sp>
    <dsp:sp modelId="{68FA9984-0E04-48C1-B5BF-C75182DEECC3}">
      <dsp:nvSpPr>
        <dsp:cNvPr id="0" name=""/>
        <dsp:cNvSpPr/>
      </dsp:nvSpPr>
      <dsp:spPr>
        <a:xfrm>
          <a:off x="2176145" y="3608525"/>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0974481-0526-45FC-AC8E-CB7AF738E826}">
      <dsp:nvSpPr>
        <dsp:cNvPr id="0" name=""/>
        <dsp:cNvSpPr/>
      </dsp:nvSpPr>
      <dsp:spPr>
        <a:xfrm>
          <a:off x="2339356" y="3627392"/>
          <a:ext cx="8541369" cy="3773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AU" sz="1400" kern="1200" baseline="0"/>
            <a:t>The Users OneDrive for Business will remain and will not go into a clean-up or deletion process</a:t>
          </a:r>
          <a:endParaRPr lang="en-US" sz="1400" kern="1200"/>
        </a:p>
      </dsp:txBody>
      <dsp:txXfrm>
        <a:off x="2339356" y="3627392"/>
        <a:ext cx="8541369" cy="377342"/>
      </dsp:txXfrm>
    </dsp:sp>
    <dsp:sp modelId="{B56A7619-DF50-4882-B158-9966F519E235}">
      <dsp:nvSpPr>
        <dsp:cNvPr id="0" name=""/>
        <dsp:cNvSpPr/>
      </dsp:nvSpPr>
      <dsp:spPr>
        <a:xfrm>
          <a:off x="2176145" y="4004735"/>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475E3BD-0E81-4465-BB19-F3EA11F76289}">
      <dsp:nvSpPr>
        <dsp:cNvPr id="0" name=""/>
        <dsp:cNvSpPr/>
      </dsp:nvSpPr>
      <dsp:spPr>
        <a:xfrm>
          <a:off x="2339356" y="4023602"/>
          <a:ext cx="8541369" cy="3773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AU" sz="1400" kern="1200" baseline="0"/>
            <a:t>The OneDrive for Business clean-up process only occurs when the user’s account is no longer in Azure AD </a:t>
          </a:r>
          <a:endParaRPr lang="en-US" sz="1400" kern="1200"/>
        </a:p>
      </dsp:txBody>
      <dsp:txXfrm>
        <a:off x="2339356" y="4023602"/>
        <a:ext cx="8541369" cy="377342"/>
      </dsp:txXfrm>
    </dsp:sp>
    <dsp:sp modelId="{935AD0BE-883C-4B6C-B794-ED4CFF16B4A3}">
      <dsp:nvSpPr>
        <dsp:cNvPr id="0" name=""/>
        <dsp:cNvSpPr/>
      </dsp:nvSpPr>
      <dsp:spPr>
        <a:xfrm>
          <a:off x="2176145" y="4400945"/>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5138E77-3333-4365-90DF-EC0ECBA66162}">
      <dsp:nvSpPr>
        <dsp:cNvPr id="0" name=""/>
        <dsp:cNvSpPr/>
      </dsp:nvSpPr>
      <dsp:spPr>
        <a:xfrm>
          <a:off x="2339356" y="4419813"/>
          <a:ext cx="8541369" cy="3773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AU" sz="1400" kern="1200" baseline="0"/>
            <a:t>User still shows up in people-picker </a:t>
          </a:r>
          <a:endParaRPr lang="en-US" sz="1400" kern="1200"/>
        </a:p>
      </dsp:txBody>
      <dsp:txXfrm>
        <a:off x="2339356" y="4419813"/>
        <a:ext cx="8541369" cy="377342"/>
      </dsp:txXfrm>
    </dsp:sp>
    <dsp:sp modelId="{C578986E-F58F-479B-B188-9256B154626B}">
      <dsp:nvSpPr>
        <dsp:cNvPr id="0" name=""/>
        <dsp:cNvSpPr/>
      </dsp:nvSpPr>
      <dsp:spPr>
        <a:xfrm>
          <a:off x="2176145" y="4797156"/>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D12224-D479-4137-99A9-7FA73233517B}">
      <dsp:nvSpPr>
        <dsp:cNvPr id="0" name=""/>
        <dsp:cNvSpPr/>
      </dsp:nvSpPr>
      <dsp:spPr>
        <a:xfrm>
          <a:off x="0" y="174717"/>
          <a:ext cx="2975193" cy="1785115"/>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Is in the format of contoso.onmicrosoft.com</a:t>
          </a:r>
        </a:p>
      </dsp:txBody>
      <dsp:txXfrm>
        <a:off x="0" y="174717"/>
        <a:ext cx="2975193" cy="1785115"/>
      </dsp:txXfrm>
    </dsp:sp>
    <dsp:sp modelId="{1D3470B7-B9A3-41E7-A31C-CB0D34C37B60}">
      <dsp:nvSpPr>
        <dsp:cNvPr id="0" name=""/>
        <dsp:cNvSpPr/>
      </dsp:nvSpPr>
      <dsp:spPr>
        <a:xfrm>
          <a:off x="3272712" y="174717"/>
          <a:ext cx="2975193" cy="1785115"/>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Created automatically and assigned to the first user at sign up</a:t>
          </a:r>
        </a:p>
      </dsp:txBody>
      <dsp:txXfrm>
        <a:off x="3272712" y="174717"/>
        <a:ext cx="2975193" cy="1785115"/>
      </dsp:txXfrm>
    </dsp:sp>
    <dsp:sp modelId="{9D500214-811C-4501-9362-2AA3075195BE}">
      <dsp:nvSpPr>
        <dsp:cNvPr id="0" name=""/>
        <dsp:cNvSpPr/>
      </dsp:nvSpPr>
      <dsp:spPr>
        <a:xfrm>
          <a:off x="6545424" y="174717"/>
          <a:ext cx="2975193" cy="1785115"/>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Fully functional for Simple Mail Transport Protocol (SMTP) and Session Initiation Protocol (SIP) addresses out-of-the-box</a:t>
          </a:r>
        </a:p>
      </dsp:txBody>
      <dsp:txXfrm>
        <a:off x="6545424" y="174717"/>
        <a:ext cx="2975193" cy="1785115"/>
      </dsp:txXfrm>
    </dsp:sp>
    <dsp:sp modelId="{B177D658-C4AE-4274-8AA8-D2750336C87E}">
      <dsp:nvSpPr>
        <dsp:cNvPr id="0" name=""/>
        <dsp:cNvSpPr/>
      </dsp:nvSpPr>
      <dsp:spPr>
        <a:xfrm>
          <a:off x="0" y="2257352"/>
          <a:ext cx="2975193" cy="1785115"/>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Enables service usage right away</a:t>
          </a:r>
        </a:p>
      </dsp:txBody>
      <dsp:txXfrm>
        <a:off x="0" y="2257352"/>
        <a:ext cx="2975193" cy="1785115"/>
      </dsp:txXfrm>
    </dsp:sp>
    <dsp:sp modelId="{5E3AD0E5-0740-4687-A842-BA58425FC58B}">
      <dsp:nvSpPr>
        <dsp:cNvPr id="0" name=""/>
        <dsp:cNvSpPr/>
      </dsp:nvSpPr>
      <dsp:spPr>
        <a:xfrm>
          <a:off x="3272712" y="2257352"/>
          <a:ext cx="2975193" cy="1785115"/>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Cannot be removed or renamed*</a:t>
          </a:r>
        </a:p>
      </dsp:txBody>
      <dsp:txXfrm>
        <a:off x="3272712" y="2257352"/>
        <a:ext cx="2975193" cy="1785115"/>
      </dsp:txXfrm>
    </dsp:sp>
    <dsp:sp modelId="{99FB065D-93E0-4B18-8E72-37B338D5F5EA}">
      <dsp:nvSpPr>
        <dsp:cNvPr id="0" name=""/>
        <dsp:cNvSpPr/>
      </dsp:nvSpPr>
      <dsp:spPr>
        <a:xfrm>
          <a:off x="6545424" y="2257352"/>
          <a:ext cx="2975193" cy="1785115"/>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No requirement to use it if adding your own domain </a:t>
          </a:r>
        </a:p>
      </dsp:txBody>
      <dsp:txXfrm>
        <a:off x="6545424" y="2257352"/>
        <a:ext cx="2975193" cy="178511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3DB3B0-A3B7-4113-99EC-704EE30E8C2F}">
      <dsp:nvSpPr>
        <dsp:cNvPr id="0" name=""/>
        <dsp:cNvSpPr/>
      </dsp:nvSpPr>
      <dsp:spPr>
        <a:xfrm>
          <a:off x="3400" y="341340"/>
          <a:ext cx="3315220" cy="1326088"/>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kern="1200" baseline="0" dirty="0"/>
            <a:t>Applies to user’s SMTP and SIP addresses</a:t>
          </a:r>
          <a:endParaRPr lang="en-US" sz="2000" kern="1200" dirty="0"/>
        </a:p>
      </dsp:txBody>
      <dsp:txXfrm>
        <a:off x="3400" y="341340"/>
        <a:ext cx="3315220" cy="1326088"/>
      </dsp:txXfrm>
    </dsp:sp>
    <dsp:sp modelId="{EC066722-50C4-40E0-AC91-70549800AFFA}">
      <dsp:nvSpPr>
        <dsp:cNvPr id="0" name=""/>
        <dsp:cNvSpPr/>
      </dsp:nvSpPr>
      <dsp:spPr>
        <a:xfrm>
          <a:off x="3400" y="1667429"/>
          <a:ext cx="3315220" cy="281088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dirty="0"/>
            <a:t>For example: user@contoso.com instead of user@contoso.onmicrosoft.com</a:t>
          </a:r>
          <a:endParaRPr lang="en-US" sz="2000" kern="1200" dirty="0"/>
        </a:p>
      </dsp:txBody>
      <dsp:txXfrm>
        <a:off x="3400" y="1667429"/>
        <a:ext cx="3315220" cy="2810880"/>
      </dsp:txXfrm>
    </dsp:sp>
    <dsp:sp modelId="{EC534D5D-EDD8-4B3A-B6B0-2BEF2A2B0CD0}">
      <dsp:nvSpPr>
        <dsp:cNvPr id="0" name=""/>
        <dsp:cNvSpPr/>
      </dsp:nvSpPr>
      <dsp:spPr>
        <a:xfrm>
          <a:off x="3782752" y="341340"/>
          <a:ext cx="3315220" cy="1326088"/>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kern="1200" baseline="0"/>
            <a:t>Used for the Microsoft Outlook on the Web URL</a:t>
          </a:r>
          <a:endParaRPr lang="en-US" sz="2000" kern="1200"/>
        </a:p>
      </dsp:txBody>
      <dsp:txXfrm>
        <a:off x="3782752" y="341340"/>
        <a:ext cx="3315220" cy="1326088"/>
      </dsp:txXfrm>
    </dsp:sp>
    <dsp:sp modelId="{7DFCC63D-4D70-4F46-B4B6-AB8A717153E6}">
      <dsp:nvSpPr>
        <dsp:cNvPr id="0" name=""/>
        <dsp:cNvSpPr/>
      </dsp:nvSpPr>
      <dsp:spPr>
        <a:xfrm>
          <a:off x="3782752" y="1667429"/>
          <a:ext cx="3315220" cy="281088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t>https://outlook.com/owa/contoso.com</a:t>
          </a:r>
          <a:endParaRPr lang="en-US" sz="2000" kern="1200"/>
        </a:p>
      </dsp:txBody>
      <dsp:txXfrm>
        <a:off x="3782752" y="1667429"/>
        <a:ext cx="3315220" cy="2810880"/>
      </dsp:txXfrm>
    </dsp:sp>
    <dsp:sp modelId="{614CE452-322D-4A1A-8BC7-F77D295F5AAA}">
      <dsp:nvSpPr>
        <dsp:cNvPr id="0" name=""/>
        <dsp:cNvSpPr/>
      </dsp:nvSpPr>
      <dsp:spPr>
        <a:xfrm>
          <a:off x="7562103" y="341340"/>
          <a:ext cx="3315220" cy="1326088"/>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kern="1200" baseline="0"/>
            <a:t>Used as the user’s Microsoft Online Services ID credentials</a:t>
          </a:r>
          <a:endParaRPr lang="en-US" sz="2000" kern="1200"/>
        </a:p>
      </dsp:txBody>
      <dsp:txXfrm>
        <a:off x="7562103" y="341340"/>
        <a:ext cx="3315220" cy="1326088"/>
      </dsp:txXfrm>
    </dsp:sp>
    <dsp:sp modelId="{88224CC8-398E-4EE3-B09F-7A524DA23522}">
      <dsp:nvSpPr>
        <dsp:cNvPr id="0" name=""/>
        <dsp:cNvSpPr/>
      </dsp:nvSpPr>
      <dsp:spPr>
        <a:xfrm>
          <a:off x="7562103" y="1667429"/>
          <a:ext cx="3315220" cy="281088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F0B15A-4AE6-414A-8E0E-88156018A9D6}">
      <dsp:nvSpPr>
        <dsp:cNvPr id="0" name=""/>
        <dsp:cNvSpPr/>
      </dsp:nvSpPr>
      <dsp:spPr>
        <a:xfrm>
          <a:off x="0" y="2133830"/>
          <a:ext cx="10880725" cy="70037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163576" rIns="163576" bIns="163576" numCol="1" spcCol="1270" anchor="ctr" anchorCtr="0">
          <a:noAutofit/>
        </a:bodyPr>
        <a:lstStyle/>
        <a:p>
          <a:pPr marL="0" lvl="0" indent="0" algn="ctr" defTabSz="1022350">
            <a:lnSpc>
              <a:spcPct val="90000"/>
            </a:lnSpc>
            <a:spcBef>
              <a:spcPct val="0"/>
            </a:spcBef>
            <a:spcAft>
              <a:spcPct val="35000"/>
            </a:spcAft>
            <a:buNone/>
          </a:pPr>
          <a:r>
            <a:rPr lang="en-US" sz="2300" kern="1200"/>
            <a:t>You must be able to create public DNS records for your domain</a:t>
          </a:r>
        </a:p>
      </dsp:txBody>
      <dsp:txXfrm>
        <a:off x="0" y="2133830"/>
        <a:ext cx="10880725" cy="700370"/>
      </dsp:txXfrm>
    </dsp:sp>
    <dsp:sp modelId="{A66BE7A4-452C-4C1C-9EEB-0BC84AC1373F}">
      <dsp:nvSpPr>
        <dsp:cNvPr id="0" name=""/>
        <dsp:cNvSpPr/>
      </dsp:nvSpPr>
      <dsp:spPr>
        <a:xfrm rot="10800000">
          <a:off x="0" y="1067166"/>
          <a:ext cx="10880725" cy="1077170"/>
        </a:xfrm>
        <a:prstGeom prst="upArrowCallou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163576" rIns="163576" bIns="163576" numCol="1" spcCol="1270" anchor="ctr" anchorCtr="0">
          <a:noAutofit/>
        </a:bodyPr>
        <a:lstStyle/>
        <a:p>
          <a:pPr marL="0" lvl="0" indent="0" algn="ctr" defTabSz="1022350">
            <a:lnSpc>
              <a:spcPct val="90000"/>
            </a:lnSpc>
            <a:spcBef>
              <a:spcPct val="0"/>
            </a:spcBef>
            <a:spcAft>
              <a:spcPct val="35000"/>
            </a:spcAft>
            <a:buNone/>
          </a:pPr>
          <a:r>
            <a:rPr lang="en-US" sz="2300" kern="1200" dirty="0"/>
            <a:t>Domain must not already be in use by another Microsoft 365 tenant</a:t>
          </a:r>
        </a:p>
      </dsp:txBody>
      <dsp:txXfrm rot="10800000">
        <a:off x="0" y="1067166"/>
        <a:ext cx="10880725" cy="699913"/>
      </dsp:txXfrm>
    </dsp:sp>
    <dsp:sp modelId="{14A1E6CE-CE56-4BB1-8EA7-9327C38F56DE}">
      <dsp:nvSpPr>
        <dsp:cNvPr id="0" name=""/>
        <dsp:cNvSpPr/>
      </dsp:nvSpPr>
      <dsp:spPr>
        <a:xfrm rot="10800000">
          <a:off x="0" y="501"/>
          <a:ext cx="10880725" cy="1077170"/>
        </a:xfrm>
        <a:prstGeom prst="upArrowCallou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163576" rIns="163576" bIns="163576" numCol="1" spcCol="1270" anchor="ctr" anchorCtr="0">
          <a:noAutofit/>
        </a:bodyPr>
        <a:lstStyle/>
        <a:p>
          <a:pPr marL="0" lvl="0" indent="0" algn="ctr" defTabSz="1022350">
            <a:lnSpc>
              <a:spcPct val="90000"/>
            </a:lnSpc>
            <a:spcBef>
              <a:spcPct val="0"/>
            </a:spcBef>
            <a:spcAft>
              <a:spcPct val="35000"/>
            </a:spcAft>
            <a:buNone/>
          </a:pPr>
          <a:r>
            <a:rPr lang="en-US" sz="2300" kern="1200" dirty="0"/>
            <a:t>You must already own the domain</a:t>
          </a:r>
        </a:p>
      </dsp:txBody>
      <dsp:txXfrm rot="10800000">
        <a:off x="0" y="501"/>
        <a:ext cx="10880725" cy="69991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AAD93-5684-4201-95B9-5C5C2F41C230}">
      <dsp:nvSpPr>
        <dsp:cNvPr id="0" name=""/>
        <dsp:cNvSpPr/>
      </dsp:nvSpPr>
      <dsp:spPr>
        <a:xfrm>
          <a:off x="0" y="231392"/>
          <a:ext cx="10880725" cy="61425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208280"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https://admin.microsoft.com</a:t>
          </a:r>
          <a:endParaRPr lang="nb-NO" sz="1800" kern="1200" dirty="0"/>
        </a:p>
      </dsp:txBody>
      <dsp:txXfrm>
        <a:off x="0" y="231392"/>
        <a:ext cx="10880725" cy="614250"/>
      </dsp:txXfrm>
    </dsp:sp>
    <dsp:sp modelId="{6B258DE7-67F3-47A6-820F-1B85C658002A}">
      <dsp:nvSpPr>
        <dsp:cNvPr id="0" name=""/>
        <dsp:cNvSpPr/>
      </dsp:nvSpPr>
      <dsp:spPr>
        <a:xfrm>
          <a:off x="544036" y="83792"/>
          <a:ext cx="7616507" cy="29520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dirty="0"/>
            <a:t>What is the URL for the Microsoft 365 Admin Center?</a:t>
          </a:r>
          <a:endParaRPr lang="nb-NO" sz="1800" kern="1200" dirty="0"/>
        </a:p>
      </dsp:txBody>
      <dsp:txXfrm>
        <a:off x="558446" y="98202"/>
        <a:ext cx="7587687" cy="266380"/>
      </dsp:txXfrm>
    </dsp:sp>
    <dsp:sp modelId="{B7C4E1B0-550B-4736-8581-0C332496A81D}">
      <dsp:nvSpPr>
        <dsp:cNvPr id="0" name=""/>
        <dsp:cNvSpPr/>
      </dsp:nvSpPr>
      <dsp:spPr>
        <a:xfrm>
          <a:off x="0" y="1047242"/>
          <a:ext cx="10880725" cy="61425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208280"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https://&lt;tenantname&gt;-admin.sharepoint.com</a:t>
          </a:r>
          <a:endParaRPr lang="nb-NO" sz="1800" kern="1200" dirty="0"/>
        </a:p>
      </dsp:txBody>
      <dsp:txXfrm>
        <a:off x="0" y="1047242"/>
        <a:ext cx="10880725" cy="614250"/>
      </dsp:txXfrm>
    </dsp:sp>
    <dsp:sp modelId="{659DA338-078B-4DFB-8FF7-743B9AD5AAB3}">
      <dsp:nvSpPr>
        <dsp:cNvPr id="0" name=""/>
        <dsp:cNvSpPr/>
      </dsp:nvSpPr>
      <dsp:spPr>
        <a:xfrm>
          <a:off x="544036" y="899642"/>
          <a:ext cx="7616507" cy="29520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dirty="0"/>
            <a:t>What is the URL for the SharePoint Administration Center? </a:t>
          </a:r>
          <a:endParaRPr lang="nb-NO" sz="1800" kern="1200" dirty="0"/>
        </a:p>
      </dsp:txBody>
      <dsp:txXfrm>
        <a:off x="558446" y="914052"/>
        <a:ext cx="7587687" cy="266380"/>
      </dsp:txXfrm>
    </dsp:sp>
    <dsp:sp modelId="{5D447A53-68F8-4074-8441-407E9A1C155B}">
      <dsp:nvSpPr>
        <dsp:cNvPr id="0" name=""/>
        <dsp:cNvSpPr/>
      </dsp:nvSpPr>
      <dsp:spPr>
        <a:xfrm>
          <a:off x="0" y="1863092"/>
          <a:ext cx="10880725" cy="94500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208280" rIns="844465" bIns="128016" numCol="1" spcCol="1270" anchor="t" anchorCtr="0">
          <a:noAutofit/>
        </a:bodyPr>
        <a:lstStyle/>
        <a:p>
          <a:pPr marL="171450" lvl="1" indent="-171450" algn="l" defTabSz="800100">
            <a:lnSpc>
              <a:spcPct val="90000"/>
            </a:lnSpc>
            <a:spcBef>
              <a:spcPct val="0"/>
            </a:spcBef>
            <a:spcAft>
              <a:spcPct val="15000"/>
            </a:spcAft>
            <a:buChar char="•"/>
          </a:pPr>
          <a:r>
            <a:rPr lang="en-AU" sz="1800" kern="1200" dirty="0"/>
            <a:t>Using Management Interfaces like Microsoft 365 Admin </a:t>
          </a:r>
          <a:r>
            <a:rPr lang="en-US" sz="1800" kern="1200" dirty="0"/>
            <a:t>Center OR Azure Admin Portal</a:t>
          </a:r>
          <a:endParaRPr lang="nb-NO" sz="1800" kern="1200" dirty="0"/>
        </a:p>
        <a:p>
          <a:pPr marL="171450" lvl="1" indent="-171450" algn="l" defTabSz="800100">
            <a:lnSpc>
              <a:spcPct val="90000"/>
            </a:lnSpc>
            <a:spcBef>
              <a:spcPct val="0"/>
            </a:spcBef>
            <a:spcAft>
              <a:spcPct val="15000"/>
            </a:spcAft>
            <a:buChar char="•"/>
          </a:pPr>
          <a:r>
            <a:rPr lang="en-US" sz="1800" kern="1200"/>
            <a:t>Using Azure Active Directory PowerShell for Graph </a:t>
          </a:r>
          <a:endParaRPr lang="nb-NO" sz="1800" kern="1200" dirty="0"/>
        </a:p>
      </dsp:txBody>
      <dsp:txXfrm>
        <a:off x="0" y="1863092"/>
        <a:ext cx="10880725" cy="945000"/>
      </dsp:txXfrm>
    </dsp:sp>
    <dsp:sp modelId="{697004BA-36C2-42E0-9D43-3931F0BC4234}">
      <dsp:nvSpPr>
        <dsp:cNvPr id="0" name=""/>
        <dsp:cNvSpPr/>
      </dsp:nvSpPr>
      <dsp:spPr>
        <a:xfrm>
          <a:off x="544036" y="1715492"/>
          <a:ext cx="7616507" cy="29520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dirty="0"/>
            <a:t>What are the possible ways of managing licenses?</a:t>
          </a:r>
          <a:endParaRPr lang="nb-NO" sz="1800" kern="1200" dirty="0"/>
        </a:p>
      </dsp:txBody>
      <dsp:txXfrm>
        <a:off x="558446" y="1729902"/>
        <a:ext cx="7587687" cy="266380"/>
      </dsp:txXfrm>
    </dsp:sp>
    <dsp:sp modelId="{92C7A95B-A37F-49D2-8CE0-DF5D40993B0F}">
      <dsp:nvSpPr>
        <dsp:cNvPr id="0" name=""/>
        <dsp:cNvSpPr/>
      </dsp:nvSpPr>
      <dsp:spPr>
        <a:xfrm>
          <a:off x="0" y="3009693"/>
          <a:ext cx="10880725" cy="61425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208280" rIns="844465" bIns="128016" numCol="1" spcCol="1270" anchor="t" anchorCtr="0">
          <a:noAutofit/>
        </a:bodyPr>
        <a:lstStyle/>
        <a:p>
          <a:pPr marL="171450" lvl="1" indent="-171450" algn="l" defTabSz="800100">
            <a:lnSpc>
              <a:spcPct val="90000"/>
            </a:lnSpc>
            <a:spcBef>
              <a:spcPct val="0"/>
            </a:spcBef>
            <a:spcAft>
              <a:spcPct val="15000"/>
            </a:spcAft>
            <a:buChar char="•"/>
          </a:pPr>
          <a:r>
            <a:rPr lang="nb-NO" sz="1800" kern="1200" dirty="0"/>
            <a:t>No</a:t>
          </a:r>
        </a:p>
      </dsp:txBody>
      <dsp:txXfrm>
        <a:off x="0" y="3009693"/>
        <a:ext cx="10880725" cy="614250"/>
      </dsp:txXfrm>
    </dsp:sp>
    <dsp:sp modelId="{7D9FFA24-BDB6-430C-A6FA-64F7C15D57E6}">
      <dsp:nvSpPr>
        <dsp:cNvPr id="0" name=""/>
        <dsp:cNvSpPr/>
      </dsp:nvSpPr>
      <dsp:spPr>
        <a:xfrm>
          <a:off x="544036" y="2862093"/>
          <a:ext cx="7616507" cy="29520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a:t>Can you remove or rename the default Microsoft Online domain?</a:t>
          </a:r>
          <a:endParaRPr lang="nb-NO" sz="1800" kern="1200" dirty="0"/>
        </a:p>
      </dsp:txBody>
      <dsp:txXfrm>
        <a:off x="558446" y="2876503"/>
        <a:ext cx="7587687" cy="266380"/>
      </dsp:txXfrm>
    </dsp:sp>
    <dsp:sp modelId="{C89FEC4E-29F6-41F1-9E66-D053E54703A6}">
      <dsp:nvSpPr>
        <dsp:cNvPr id="0" name=""/>
        <dsp:cNvSpPr/>
      </dsp:nvSpPr>
      <dsp:spPr>
        <a:xfrm>
          <a:off x="0" y="3825543"/>
          <a:ext cx="10880725" cy="182700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208280" rIns="844465" bIns="128016" numCol="1" spcCol="1270" anchor="t" anchorCtr="0">
          <a:noAutofit/>
        </a:bodyPr>
        <a:lstStyle/>
        <a:p>
          <a:pPr marL="171450" lvl="1" indent="-171450" algn="l" defTabSz="800100">
            <a:lnSpc>
              <a:spcPct val="90000"/>
            </a:lnSpc>
            <a:spcBef>
              <a:spcPct val="0"/>
            </a:spcBef>
            <a:spcAft>
              <a:spcPct val="15000"/>
            </a:spcAft>
            <a:buChar char="•"/>
          </a:pPr>
          <a:r>
            <a:rPr lang="en-AU" sz="1800" kern="1200" dirty="0"/>
            <a:t>A user’s content in SharePoint Online will remain in SharePoint Online</a:t>
          </a:r>
          <a:endParaRPr lang="nb-NO" sz="1800" kern="1200" dirty="0"/>
        </a:p>
        <a:p>
          <a:pPr marL="171450" lvl="1" indent="-171450" algn="l" defTabSz="800100">
            <a:lnSpc>
              <a:spcPct val="90000"/>
            </a:lnSpc>
            <a:spcBef>
              <a:spcPct val="0"/>
            </a:spcBef>
            <a:spcAft>
              <a:spcPct val="15000"/>
            </a:spcAft>
            <a:buChar char="•"/>
          </a:pPr>
          <a:r>
            <a:rPr lang="en-AU" sz="1800" kern="1200"/>
            <a:t>The Users OneDrive for Business will remain and will not go into a clean-up or deletion process when the users SPO license is removed</a:t>
          </a:r>
          <a:endParaRPr lang="nb-NO" sz="1800" kern="1200" dirty="0"/>
        </a:p>
        <a:p>
          <a:pPr marL="171450" lvl="1" indent="-171450" algn="l" defTabSz="800100">
            <a:lnSpc>
              <a:spcPct val="90000"/>
            </a:lnSpc>
            <a:spcBef>
              <a:spcPct val="0"/>
            </a:spcBef>
            <a:spcAft>
              <a:spcPct val="15000"/>
            </a:spcAft>
            <a:buChar char="•"/>
          </a:pPr>
          <a:r>
            <a:rPr lang="en-AU" sz="1800" kern="1200" dirty="0"/>
            <a:t>The OneDrive for Business clean-up process only occurs when the user’s account is no longer in Azure AD. </a:t>
          </a:r>
          <a:endParaRPr lang="nb-NO" sz="1800" kern="1200" dirty="0"/>
        </a:p>
      </dsp:txBody>
      <dsp:txXfrm>
        <a:off x="0" y="3825543"/>
        <a:ext cx="10880725" cy="1827000"/>
      </dsp:txXfrm>
    </dsp:sp>
    <dsp:sp modelId="{4BA03F3D-9D1D-45AD-AB79-0F29DF473182}">
      <dsp:nvSpPr>
        <dsp:cNvPr id="0" name=""/>
        <dsp:cNvSpPr/>
      </dsp:nvSpPr>
      <dsp:spPr>
        <a:xfrm>
          <a:off x="544036" y="3677943"/>
          <a:ext cx="7616507" cy="29520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dirty="0"/>
            <a:t>What happens if you remove a SharePoint license from a user? </a:t>
          </a:r>
          <a:endParaRPr lang="nb-NO" sz="1800" kern="1200" dirty="0"/>
        </a:p>
      </dsp:txBody>
      <dsp:txXfrm>
        <a:off x="558446" y="3692353"/>
        <a:ext cx="7587687" cy="26638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1/2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powershell/azuread/v2/azureactivedirectory"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www.microsoft.com/en-us/download/details.aspx?id=34595"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technet.microsoft.com/en-us/library/fp161380" TargetMode="External"/><Relationship Id="rId5" Type="http://schemas.openxmlformats.org/officeDocument/2006/relationships/hyperlink" Target="http://technet.microsoft.com/en-us/library/fp161392" TargetMode="External"/><Relationship Id="rId4" Type="http://schemas.openxmlformats.org/officeDocument/2006/relationships/hyperlink" Target="http://www.microsoft.com/en-us/download/details.aspx?id=35588"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portal.office.com/"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413075167"/>
      </p:ext>
    </p:extLst>
  </p:cSld>
  <p:clrMapOvr>
    <a:masterClrMapping/>
  </p:clrMapOvr>
</p:notes>
</file>

<file path=ppt/notesSlides/notesSlide1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72976585"/>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For a listing of </a:t>
            </a:r>
            <a:r>
              <a:rPr lang="en-US" sz="1050" b="0" i="0" u="none" strike="noStrike" kern="1200" dirty="0">
                <a:solidFill>
                  <a:schemeClr val="tx1"/>
                </a:solidFill>
                <a:effectLst/>
                <a:latin typeface="Segoe UI" pitchFamily="34" charset="0"/>
                <a:ea typeface="+mn-ea"/>
                <a:cs typeface="Segoe UI" pitchFamily="34" charset="0"/>
              </a:rPr>
              <a:t>The Azure Active Directory PowerShell for Graph module cmdlets see</a:t>
            </a:r>
            <a:endParaRPr lang="en-US" dirty="0"/>
          </a:p>
          <a:p>
            <a:r>
              <a:rPr lang="en-US" dirty="0"/>
              <a:t>https://docs.microsoft.com/en-us/powershell/module/Azuread/?view=azureadps-2.0</a:t>
            </a:r>
          </a:p>
          <a:p>
            <a:endParaRPr lang="en-US" dirty="0"/>
          </a:p>
          <a:p>
            <a:r>
              <a:rPr lang="en-US" dirty="0"/>
              <a:t>NOTE: </a:t>
            </a:r>
            <a:r>
              <a:rPr lang="en-US" sz="1050" b="0" i="0" u="none" strike="noStrike" kern="1200" dirty="0">
                <a:solidFill>
                  <a:schemeClr val="tx1"/>
                </a:solidFill>
                <a:effectLst/>
                <a:latin typeface="Segoe UI" pitchFamily="34" charset="0"/>
                <a:ea typeface="+mn-ea"/>
                <a:cs typeface="Segoe UI" pitchFamily="34" charset="0"/>
              </a:rPr>
              <a:t>Microsoft will begin to deprecate the Azure </a:t>
            </a:r>
            <a:r>
              <a:rPr lang="en-US" sz="1050" b="0" i="0" u="none" strike="noStrike" kern="1200" dirty="0" err="1">
                <a:solidFill>
                  <a:schemeClr val="tx1"/>
                </a:solidFill>
                <a:effectLst/>
                <a:latin typeface="Segoe UI" pitchFamily="34" charset="0"/>
                <a:ea typeface="+mn-ea"/>
                <a:cs typeface="Segoe UI" pitchFamily="34" charset="0"/>
              </a:rPr>
              <a:t>ActiveDirectory</a:t>
            </a:r>
            <a:r>
              <a:rPr lang="en-US" sz="1050" b="0" i="0" u="none" strike="noStrike" kern="1200" dirty="0">
                <a:solidFill>
                  <a:schemeClr val="tx1"/>
                </a:solidFill>
                <a:effectLst/>
                <a:latin typeface="Segoe UI" pitchFamily="34" charset="0"/>
                <a:ea typeface="+mn-ea"/>
                <a:cs typeface="Segoe UI" pitchFamily="34" charset="0"/>
              </a:rPr>
              <a:t> (</a:t>
            </a:r>
            <a:r>
              <a:rPr lang="en-US" sz="1050" b="0" i="0" u="none" strike="noStrike" kern="1200" dirty="0" err="1">
                <a:solidFill>
                  <a:schemeClr val="tx1"/>
                </a:solidFill>
                <a:effectLst/>
                <a:latin typeface="Segoe UI" pitchFamily="34" charset="0"/>
                <a:ea typeface="+mn-ea"/>
                <a:cs typeface="Segoe UI" pitchFamily="34" charset="0"/>
              </a:rPr>
              <a:t>MSOnline</a:t>
            </a:r>
            <a:r>
              <a:rPr lang="en-US" sz="1050" b="0" i="0" u="none" strike="noStrike" kern="1200" dirty="0">
                <a:solidFill>
                  <a:schemeClr val="tx1"/>
                </a:solidFill>
                <a:effectLst/>
                <a:latin typeface="Segoe UI" pitchFamily="34" charset="0"/>
                <a:ea typeface="+mn-ea"/>
                <a:cs typeface="Segoe UI" pitchFamily="34" charset="0"/>
              </a:rPr>
              <a:t>) module when the functionality of that module is migrated to the newer </a:t>
            </a:r>
            <a:r>
              <a:rPr lang="en-US" sz="1050" b="0" i="0" u="sng" kern="1200" dirty="0">
                <a:solidFill>
                  <a:schemeClr val="tx1"/>
                </a:solidFill>
                <a:effectLst/>
                <a:latin typeface="Segoe UI" pitchFamily="34" charset="0"/>
                <a:ea typeface="+mn-ea"/>
                <a:cs typeface="Segoe UI" pitchFamily="34" charset="0"/>
                <a:hlinkClick r:id="rId3"/>
              </a:rPr>
              <a:t>Azure Active Directory PowerShell for Graph Module</a:t>
            </a:r>
            <a:r>
              <a:rPr lang="en-US" sz="1050" b="0" i="0" u="none" strike="noStrike" kern="1200" dirty="0">
                <a:solidFill>
                  <a:schemeClr val="tx1"/>
                </a:solidFill>
                <a:effectLst/>
                <a:latin typeface="Segoe UI" pitchFamily="34" charset="0"/>
                <a:ea typeface="+mn-ea"/>
                <a:cs typeface="Segoe UI" pitchFamily="34" charset="0"/>
              </a:rPr>
              <a:t>. </a:t>
            </a:r>
          </a:p>
          <a:p>
            <a:r>
              <a:rPr lang="en-US" sz="1050" b="0" i="0" u="none" strike="noStrike" kern="1200" dirty="0">
                <a:solidFill>
                  <a:schemeClr val="tx1"/>
                </a:solidFill>
                <a:effectLst/>
                <a:latin typeface="Segoe UI" pitchFamily="34" charset="0"/>
                <a:ea typeface="+mn-ea"/>
                <a:cs typeface="Segoe UI" pitchFamily="34" charset="0"/>
              </a:rPr>
              <a:t>Microsoft advises customers who are creating new PowerShell scripts to use the newer module instead of this module.</a:t>
            </a:r>
            <a:endParaRPr lang="en-US" dirty="0"/>
          </a:p>
          <a:p>
            <a:endParaRPr lang="en-US" dirty="0"/>
          </a:p>
          <a:p>
            <a:endParaRPr lang="en-US" dirty="0"/>
          </a:p>
          <a:p>
            <a:r>
              <a:rPr lang="en-US" dirty="0"/>
              <a:t>Although not to the extent of SharePoint on-premises, you can use Windows PowerShell to manage your SharePoint Online organization. Windows PowerShell is especially useful for bulk operations and for accessing settings that may not be available in the SharePoint Admin Center. You can use Remote PowerShell on a local computer to connect to your SharePoint Online organization.</a:t>
            </a:r>
          </a:p>
          <a:p>
            <a:r>
              <a:rPr lang="en-US" dirty="0"/>
              <a:t>Remote PowerShell allows you to: </a:t>
            </a:r>
          </a:p>
          <a:p>
            <a:pPr marL="171450" indent="-171450">
              <a:buFont typeface="Arial" panose="020B0604020202020204" pitchFamily="34" charset="0"/>
              <a:buChar char="•"/>
            </a:pPr>
            <a:r>
              <a:rPr lang="en-US" dirty="0"/>
              <a:t>Use scripts to automate routine tasks. </a:t>
            </a:r>
            <a:r>
              <a:rPr lang="en-US" b="1" dirty="0"/>
              <a:t>For example, you can create or update many user accounts or site collections at the same time</a:t>
            </a:r>
            <a:r>
              <a:rPr lang="en-US" dirty="0"/>
              <a:t>. You can use the same PowerShell commands and syntax as you would for other Windows Server products on-premises. </a:t>
            </a:r>
          </a:p>
          <a:p>
            <a:r>
              <a:rPr lang="en-US" dirty="0"/>
              <a:t>The SharePoint Online Management Shell, uses Secure Sockets Layer (SSL) port 443 to connect to the datacenter using the standard HTTPS protocols. </a:t>
            </a:r>
          </a:p>
          <a:p>
            <a:endParaRPr lang="en-US" dirty="0"/>
          </a:p>
          <a:p>
            <a:r>
              <a:rPr lang="en-US" dirty="0"/>
              <a:t>For more</a:t>
            </a:r>
            <a:r>
              <a:rPr lang="en-US" baseline="0" dirty="0"/>
              <a:t> information on the SharePoint Online Management shell and an index of it’s </a:t>
            </a:r>
            <a:r>
              <a:rPr lang="en-US" b="0" dirty="0">
                <a:effectLst/>
              </a:rPr>
              <a:t>cmdlets</a:t>
            </a:r>
            <a:r>
              <a:rPr lang="en-US" b="0" baseline="0" dirty="0">
                <a:effectLst/>
              </a:rPr>
              <a:t>, see: </a:t>
            </a:r>
          </a:p>
          <a:p>
            <a:r>
              <a:rPr lang="en-US" dirty="0"/>
              <a:t>http://technet.microsoft.com/en-us/library/fp161362(v=office.15).aspx</a:t>
            </a:r>
          </a:p>
          <a:p>
            <a:endParaRPr lang="en-US" dirty="0"/>
          </a:p>
        </p:txBody>
      </p:sp>
      <p:sp>
        <p:nvSpPr>
          <p:cNvPr id="4" name="Slide Number Placeholder 3"/>
          <p:cNvSpPr>
            <a:spLocks noGrp="1"/>
          </p:cNvSpPr>
          <p:nvPr>
            <p:ph type="sldNum" sz="quarter" idx="10"/>
          </p:nvPr>
        </p:nvSpPr>
        <p:spPr>
          <a:xfrm>
            <a:off x="5076967" y="8685213"/>
            <a:ext cx="1779446" cy="457200"/>
          </a:xfrm>
          <a:prstGeom prst="rect">
            <a:avLst/>
          </a:prstGeom>
        </p:spPr>
        <p:txBody>
          <a:bodyPr/>
          <a:lstStyle/>
          <a:p>
            <a:fld id="{675416BA-65F7-274A-AD61-D0FA78F3AA6E}" type="slidenum">
              <a:rPr lang="en-US" smtClean="0"/>
              <a:pPr/>
              <a:t>11</a:t>
            </a:fld>
            <a:endParaRPr lang="en-US" dirty="0"/>
          </a:p>
        </p:txBody>
      </p:sp>
      <p:sp>
        <p:nvSpPr>
          <p:cNvPr id="6" name="Slide Image Placeholder 5"/>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2360061183"/>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lstStyle/>
          <a:p>
            <a:r>
              <a:rPr lang="en-US" dirty="0"/>
              <a:t>For more detail and steps on installing the </a:t>
            </a:r>
            <a:r>
              <a:rPr lang="en-US" sz="1050" b="0" i="0" u="none" strike="noStrike" kern="1200" dirty="0">
                <a:solidFill>
                  <a:schemeClr val="tx1"/>
                </a:solidFill>
                <a:effectLst/>
                <a:latin typeface="Segoe UI" pitchFamily="34" charset="0"/>
                <a:ea typeface="+mn-ea"/>
                <a:cs typeface="Segoe UI" pitchFamily="34" charset="0"/>
              </a:rPr>
              <a:t>Azure Active Directory PowerShell for Graph module and connecting to </a:t>
            </a:r>
            <a:r>
              <a:rPr lang="en-US" sz="1050" b="0" i="0" u="none" strike="noStrike" kern="1200" dirty="0" err="1">
                <a:solidFill>
                  <a:schemeClr val="tx1"/>
                </a:solidFill>
                <a:effectLst/>
                <a:latin typeface="Segoe UI" pitchFamily="34" charset="0"/>
                <a:ea typeface="+mn-ea"/>
                <a:cs typeface="Segoe UI" pitchFamily="34" charset="0"/>
              </a:rPr>
              <a:t>AzureAD</a:t>
            </a:r>
            <a:r>
              <a:rPr lang="en-US" sz="1050" b="0" i="0" u="none" strike="noStrike" kern="1200" dirty="0">
                <a:solidFill>
                  <a:schemeClr val="tx1"/>
                </a:solidFill>
                <a:effectLst/>
                <a:latin typeface="Segoe UI" pitchFamily="34" charset="0"/>
                <a:ea typeface="+mn-ea"/>
                <a:cs typeface="Segoe UI" pitchFamily="34" charset="0"/>
              </a:rPr>
              <a:t> see </a:t>
            </a:r>
          </a:p>
          <a:p>
            <a:r>
              <a:rPr lang="en-US" dirty="0"/>
              <a:t> https://docs.microsoft.com/en-us/powershell/azure/active-directory/install-adv2?view=azureadps-2.0</a:t>
            </a:r>
          </a:p>
          <a:p>
            <a:endParaRPr lang="en-US" dirty="0"/>
          </a:p>
        </p:txBody>
      </p:sp>
      <p:sp>
        <p:nvSpPr>
          <p:cNvPr id="4" name="Slide Number Placeholder 3"/>
          <p:cNvSpPr>
            <a:spLocks noGrp="1"/>
          </p:cNvSpPr>
          <p:nvPr>
            <p:ph type="sldNum" sz="quarter" idx="10"/>
          </p:nvPr>
        </p:nvSpPr>
        <p:spPr>
          <a:xfrm>
            <a:off x="5076967" y="8685213"/>
            <a:ext cx="1779446" cy="457200"/>
          </a:xfrm>
          <a:prstGeom prst="rect">
            <a:avLst/>
          </a:prstGeom>
        </p:spPr>
        <p:txBody>
          <a:bodyPr/>
          <a:lstStyle/>
          <a:p>
            <a:fld id="{675416BA-65F7-274A-AD61-D0FA78F3AA6E}"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830342118"/>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r>
              <a:rPr lang="en-US" dirty="0"/>
              <a:t>Set up the SharePoint Online Management Shell environment</a:t>
            </a:r>
          </a:p>
          <a:p>
            <a:pPr>
              <a:spcBef>
                <a:spcPts val="0"/>
              </a:spcBef>
              <a:spcAft>
                <a:spcPts val="0"/>
              </a:spcAft>
            </a:pPr>
            <a:r>
              <a:rPr lang="en-US" dirty="0"/>
              <a:t>SharePoint Online global administrators use the SharePoint Online Management Shell to do the following:</a:t>
            </a:r>
          </a:p>
          <a:p>
            <a:pPr marL="171450" lvl="0" indent="-171450">
              <a:spcBef>
                <a:spcPts val="0"/>
              </a:spcBef>
              <a:spcAft>
                <a:spcPts val="0"/>
              </a:spcAft>
              <a:buFont typeface="Arial" panose="020B0604020202020204" pitchFamily="34" charset="0"/>
              <a:buChar char="•"/>
            </a:pPr>
            <a:r>
              <a:rPr lang="en-US" sz="1000" dirty="0"/>
              <a:t>Remotely manage site collections.</a:t>
            </a:r>
          </a:p>
          <a:p>
            <a:pPr marL="171450" lvl="0" indent="-171450">
              <a:spcBef>
                <a:spcPts val="0"/>
              </a:spcBef>
              <a:spcAft>
                <a:spcPts val="0"/>
              </a:spcAft>
              <a:buFont typeface="Arial" panose="020B0604020202020204" pitchFamily="34" charset="0"/>
              <a:buChar char="•"/>
            </a:pPr>
            <a:r>
              <a:rPr lang="en-US" sz="1000" dirty="0"/>
              <a:t>Upgrade site collections to a new version.</a:t>
            </a:r>
          </a:p>
          <a:p>
            <a:pPr marL="171450" lvl="0" indent="-171450">
              <a:spcBef>
                <a:spcPts val="0"/>
              </a:spcBef>
              <a:spcAft>
                <a:spcPts val="0"/>
              </a:spcAft>
              <a:buFont typeface="Arial" panose="020B0604020202020204" pitchFamily="34" charset="0"/>
              <a:buChar char="•"/>
            </a:pPr>
            <a:r>
              <a:rPr lang="en-US" sz="1000" dirty="0"/>
              <a:t>Configure SharePoint Online company-level settings </a:t>
            </a:r>
            <a:r>
              <a:rPr lang="en-US" sz="1000" b="1" dirty="0"/>
              <a:t>like </a:t>
            </a:r>
            <a:r>
              <a:rPr lang="en-US" sz="1050" b="1" kern="1200" dirty="0">
                <a:solidFill>
                  <a:schemeClr val="tx1"/>
                </a:solidFill>
                <a:effectLst/>
                <a:latin typeface="Segoe UI" pitchFamily="34" charset="0"/>
                <a:ea typeface="+mn-ea"/>
                <a:cs typeface="Segoe UI" pitchFamily="34" charset="0"/>
              </a:rPr>
              <a:t>NoAccessRedirectUrl</a:t>
            </a:r>
            <a:r>
              <a:rPr lang="en-US" sz="1050" kern="1200" dirty="0">
                <a:solidFill>
                  <a:schemeClr val="tx1"/>
                </a:solidFill>
                <a:effectLst/>
              </a:rPr>
              <a:t>.</a:t>
            </a:r>
            <a:endParaRPr lang="en-US" sz="1000" dirty="0"/>
          </a:p>
          <a:p>
            <a:pPr marL="171450" lvl="0" indent="-171450">
              <a:spcBef>
                <a:spcPts val="0"/>
              </a:spcBef>
              <a:spcAft>
                <a:spcPts val="0"/>
              </a:spcAft>
              <a:buFont typeface="Arial" panose="020B0604020202020204" pitchFamily="34" charset="0"/>
              <a:buChar char="•"/>
            </a:pPr>
            <a:r>
              <a:rPr lang="en-US" sz="1000" dirty="0"/>
              <a:t>Get logs from data connections between SharePoint Online and other services through Business Connectivity Services.</a:t>
            </a:r>
          </a:p>
          <a:p>
            <a:pPr marL="171450" lvl="0" indent="-171450">
              <a:spcBef>
                <a:spcPts val="0"/>
              </a:spcBef>
              <a:spcAft>
                <a:spcPts val="0"/>
              </a:spcAft>
              <a:buFont typeface="Arial" panose="020B0604020202020204" pitchFamily="34" charset="0"/>
              <a:buChar char="•"/>
            </a:pPr>
            <a:endParaRPr lang="en-US" sz="1000" dirty="0"/>
          </a:p>
          <a:p>
            <a:pPr>
              <a:spcBef>
                <a:spcPts val="0"/>
              </a:spcBef>
              <a:spcAft>
                <a:spcPts val="0"/>
              </a:spcAft>
            </a:pPr>
            <a:r>
              <a:rPr lang="en-US" b="1" dirty="0"/>
              <a:t>Note</a:t>
            </a:r>
            <a:r>
              <a:rPr lang="en-US" dirty="0"/>
              <a:t>: You might need to set your Windows PowerShell execution policy by specifying the following command: </a:t>
            </a:r>
            <a:endParaRPr lang="en-US" i="1" dirty="0"/>
          </a:p>
          <a:p>
            <a:pPr>
              <a:spcBef>
                <a:spcPts val="0"/>
              </a:spcBef>
              <a:spcAft>
                <a:spcPts val="0"/>
              </a:spcAft>
            </a:pPr>
            <a:r>
              <a:rPr lang="en-US" i="1" dirty="0"/>
              <a:t>Set-ExecutionPolicy –ExecutionPolicy RemoteSigned</a:t>
            </a:r>
            <a:endParaRPr lang="en-US" dirty="0"/>
          </a:p>
          <a:p>
            <a:pPr>
              <a:spcBef>
                <a:spcPts val="0"/>
              </a:spcBef>
              <a:spcAft>
                <a:spcPts val="0"/>
              </a:spcAft>
            </a:pPr>
            <a:endParaRPr lang="en-US" dirty="0"/>
          </a:p>
          <a:p>
            <a:pPr>
              <a:spcBef>
                <a:spcPts val="0"/>
              </a:spcBef>
              <a:spcAft>
                <a:spcPts val="0"/>
              </a:spcAft>
            </a:pPr>
            <a:r>
              <a:rPr lang="en-US" dirty="0"/>
              <a:t>To set up the SharePoint Online Management Shell environment, follow these steps</a:t>
            </a:r>
          </a:p>
          <a:p>
            <a:pPr>
              <a:spcBef>
                <a:spcPts val="0"/>
              </a:spcBef>
              <a:spcAft>
                <a:spcPts val="0"/>
              </a:spcAft>
            </a:pPr>
            <a:endParaRPr lang="en-US" dirty="0"/>
          </a:p>
          <a:p>
            <a:pPr marL="228600" lvl="0" indent="-228600">
              <a:spcBef>
                <a:spcPts val="0"/>
              </a:spcBef>
              <a:spcAft>
                <a:spcPts val="0"/>
              </a:spcAft>
              <a:buFont typeface="+mj-lt"/>
              <a:buAutoNum type="arabicPeriod"/>
            </a:pPr>
            <a:r>
              <a:rPr lang="en-US" dirty="0"/>
              <a:t>Install Windows Management Framework 3.0 from </a:t>
            </a:r>
            <a:r>
              <a:rPr lang="en-US" dirty="0">
                <a:hlinkClick r:id="rId3"/>
              </a:rPr>
              <a:t>http://www.microsoft.com/en-us/download/details.aspx?id=34595</a:t>
            </a:r>
            <a:endParaRPr lang="en-US" dirty="0"/>
          </a:p>
          <a:p>
            <a:pPr marL="228600" lvl="0" indent="-228600">
              <a:spcBef>
                <a:spcPts val="0"/>
              </a:spcBef>
              <a:spcAft>
                <a:spcPts val="0"/>
              </a:spcAft>
              <a:buFont typeface="+mj-lt"/>
              <a:buAutoNum type="arabicPeriod"/>
            </a:pPr>
            <a:r>
              <a:rPr lang="en-US" dirty="0"/>
              <a:t>Install SharePoint Online Management Shell from </a:t>
            </a:r>
            <a:r>
              <a:rPr lang="en-US" dirty="0">
                <a:hlinkClick r:id="rId4"/>
              </a:rPr>
              <a:t>http://www.microsoft.com/en-us/download/details.aspx?id=35588</a:t>
            </a:r>
            <a:endParaRPr lang="en-US" dirty="0"/>
          </a:p>
          <a:p>
            <a:pPr marL="228600" lvl="0" indent="-228600">
              <a:spcBef>
                <a:spcPts val="0"/>
              </a:spcBef>
              <a:spcAft>
                <a:spcPts val="0"/>
              </a:spcAft>
              <a:buFont typeface="+mj-lt"/>
              <a:buAutoNum type="arabicPeriod"/>
            </a:pPr>
            <a:r>
              <a:rPr lang="en-US" dirty="0"/>
              <a:t>Click </a:t>
            </a:r>
            <a:r>
              <a:rPr lang="en-US" b="1" dirty="0"/>
              <a:t>Start</a:t>
            </a:r>
            <a:r>
              <a:rPr lang="en-US" dirty="0"/>
              <a:t>, click </a:t>
            </a:r>
            <a:r>
              <a:rPr lang="en-US" b="1" dirty="0"/>
              <a:t>All Programs</a:t>
            </a:r>
            <a:r>
              <a:rPr lang="en-US" dirty="0"/>
              <a:t>, and then click </a:t>
            </a:r>
            <a:r>
              <a:rPr lang="en-US" b="1" dirty="0"/>
              <a:t>SharePoint Online Management Shell</a:t>
            </a:r>
            <a:r>
              <a:rPr lang="en-US" dirty="0"/>
              <a:t>.</a:t>
            </a:r>
            <a:r>
              <a:rPr lang="en-US" b="1" dirty="0"/>
              <a:t> </a:t>
            </a:r>
            <a:endParaRPr lang="en-US" dirty="0"/>
          </a:p>
          <a:p>
            <a:pPr marL="228600" lvl="0" indent="-228600">
              <a:spcBef>
                <a:spcPts val="0"/>
              </a:spcBef>
              <a:spcAft>
                <a:spcPts val="0"/>
              </a:spcAft>
              <a:buFont typeface="+mj-lt"/>
              <a:buAutoNum type="arabicPeriod"/>
            </a:pPr>
            <a:r>
              <a:rPr lang="en-US" dirty="0"/>
              <a:t>Run </a:t>
            </a:r>
            <a:r>
              <a:rPr lang="en-US" b="1" dirty="0"/>
              <a:t>Connect-SPOService</a:t>
            </a:r>
            <a:r>
              <a:rPr lang="en-US" dirty="0"/>
              <a:t> (For more information, see: </a:t>
            </a:r>
            <a:r>
              <a:rPr lang="en-US" dirty="0">
                <a:hlinkClick r:id="rId5"/>
              </a:rPr>
              <a:t>http://technet.microsoft.com/en-us/library/fp161392</a:t>
            </a:r>
            <a:r>
              <a:rPr lang="en-US" dirty="0"/>
              <a:t>) For example, type this command at the prompt:</a:t>
            </a:r>
          </a:p>
          <a:p>
            <a:pPr marL="228600" lvl="0">
              <a:spcBef>
                <a:spcPts val="0"/>
              </a:spcBef>
              <a:spcAft>
                <a:spcPts val="0"/>
              </a:spcAft>
            </a:pPr>
            <a:r>
              <a:rPr lang="en-US" b="1" dirty="0"/>
              <a:t>Connect-SPOService -Url </a:t>
            </a:r>
            <a:r>
              <a:rPr lang="en-US" b="1" i="1" dirty="0"/>
              <a:t>https://contoso-admin.sharepoint.com</a:t>
            </a:r>
            <a:r>
              <a:rPr lang="en-US" b="1" dirty="0"/>
              <a:t> - credential </a:t>
            </a:r>
            <a:r>
              <a:rPr lang="en-US" b="1" i="1" dirty="0"/>
              <a:t>admin@contoso.com</a:t>
            </a:r>
            <a:r>
              <a:rPr lang="en-US" dirty="0"/>
              <a:t>, where: </a:t>
            </a:r>
          </a:p>
          <a:p>
            <a:pPr marL="457200" lvl="2" indent="-228600">
              <a:spcBef>
                <a:spcPts val="0"/>
              </a:spcBef>
              <a:spcAft>
                <a:spcPts val="0"/>
              </a:spcAft>
              <a:buFont typeface="Arial" panose="020B0604020202020204" pitchFamily="34" charset="0"/>
              <a:buChar char="•"/>
            </a:pPr>
            <a:r>
              <a:rPr lang="en-US" dirty="0"/>
              <a:t>Url is the URL of the SharePoint Online Administration Center.</a:t>
            </a:r>
          </a:p>
          <a:p>
            <a:pPr marL="457200" lvl="2" indent="-228600">
              <a:spcBef>
                <a:spcPts val="0"/>
              </a:spcBef>
              <a:spcAft>
                <a:spcPts val="0"/>
              </a:spcAft>
              <a:buFont typeface="Arial" panose="020B0604020202020204" pitchFamily="34" charset="0"/>
              <a:buChar char="•"/>
            </a:pPr>
            <a:r>
              <a:rPr lang="en-US" dirty="0"/>
              <a:t>Credential is the user name to which you want to grant access to the SharePoint Online Administration Center site. </a:t>
            </a:r>
          </a:p>
          <a:p>
            <a:pPr marL="228600" lvl="0" indent="-228600">
              <a:spcBef>
                <a:spcPts val="0"/>
              </a:spcBef>
              <a:spcAft>
                <a:spcPts val="0"/>
              </a:spcAft>
              <a:buFont typeface="+mj-lt"/>
              <a:buAutoNum type="arabicPeriod" startAt="5"/>
            </a:pPr>
            <a:r>
              <a:rPr lang="en-US" dirty="0"/>
              <a:t>Run </a:t>
            </a:r>
            <a:r>
              <a:rPr lang="en-US" b="1" dirty="0"/>
              <a:t>Get-SPOSite</a:t>
            </a:r>
            <a:r>
              <a:rPr lang="en-US" dirty="0"/>
              <a:t> (For more information, see: </a:t>
            </a:r>
            <a:r>
              <a:rPr lang="en-US" dirty="0">
                <a:hlinkClick r:id="rId6"/>
              </a:rPr>
              <a:t>http://technet.microsoft.com/en-us/library/fp161380</a:t>
            </a:r>
            <a:r>
              <a:rPr lang="en-US" dirty="0"/>
              <a:t>) to get a list of all the sites. </a:t>
            </a:r>
          </a:p>
        </p:txBody>
      </p:sp>
      <p:sp>
        <p:nvSpPr>
          <p:cNvPr id="4" name="Slide Number Placeholder 3"/>
          <p:cNvSpPr>
            <a:spLocks noGrp="1"/>
          </p:cNvSpPr>
          <p:nvPr>
            <p:ph type="sldNum" sz="quarter" idx="10"/>
          </p:nvPr>
        </p:nvSpPr>
        <p:spPr>
          <a:xfrm>
            <a:off x="5076967" y="8685213"/>
            <a:ext cx="1779446" cy="457200"/>
          </a:xfrm>
          <a:prstGeom prst="rect">
            <a:avLst/>
          </a:prstGeom>
        </p:spPr>
        <p:txBody>
          <a:bodyPr/>
          <a:lstStyle/>
          <a:p>
            <a:fld id="{675416BA-65F7-274A-AD61-D0FA78F3AA6E}" type="slidenum">
              <a:rPr lang="en-US" smtClean="0"/>
              <a:pPr/>
              <a:t>13</a:t>
            </a:fld>
            <a:endParaRPr lang="en-US" dirty="0"/>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3007753299"/>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This slide demonstrates the two distinct connection points that are used when using Windows PowerShell.</a:t>
            </a:r>
          </a:p>
          <a:p>
            <a:r>
              <a:rPr lang="en-US" b="1" dirty="0"/>
              <a:t>Note</a:t>
            </a:r>
            <a:r>
              <a:rPr lang="en-US" dirty="0"/>
              <a:t>: You might need to set your Windows PowerShell execution policy by specifying </a:t>
            </a:r>
            <a:r>
              <a:rPr lang="en-US" b="1" dirty="0"/>
              <a:t>Set-ExecutionPolicy –ExecutionPolicy RemoteSigned</a:t>
            </a:r>
          </a:p>
          <a:p>
            <a:r>
              <a:rPr lang="en-US" sz="1050" b="0" i="0" u="none" strike="noStrike" kern="1200" dirty="0">
                <a:solidFill>
                  <a:schemeClr val="tx1"/>
                </a:solidFill>
                <a:effectLst/>
                <a:latin typeface="Segoe UI" pitchFamily="34" charset="0"/>
                <a:ea typeface="+mn-ea"/>
                <a:cs typeface="Segoe UI" pitchFamily="34" charset="0"/>
              </a:rPr>
              <a:t>Azure Active Directory PowerShell for Graph </a:t>
            </a:r>
            <a:r>
              <a:rPr lang="en-US" dirty="0"/>
              <a:t>connects to an instance of Azure Active Directory (Azure AD). When this module is first installed, all cmdlets are installed locally on the client.</a:t>
            </a:r>
          </a:p>
          <a:p>
            <a:r>
              <a:rPr lang="en-US" dirty="0"/>
              <a:t>The SharePoint Online Management Shell connects to the SharePoint Online component of your tenant and contains the available cmdlets for SharePoint Online. </a:t>
            </a:r>
          </a:p>
          <a:p>
            <a:endParaRPr lang="en-US" dirty="0"/>
          </a:p>
        </p:txBody>
      </p:sp>
      <p:sp>
        <p:nvSpPr>
          <p:cNvPr id="4" name="Slide Number Placeholder 3"/>
          <p:cNvSpPr>
            <a:spLocks noGrp="1"/>
          </p:cNvSpPr>
          <p:nvPr>
            <p:ph type="sldNum" sz="quarter" idx="10"/>
          </p:nvPr>
        </p:nvSpPr>
        <p:spPr>
          <a:xfrm>
            <a:off x="5076967" y="8685213"/>
            <a:ext cx="1779446" cy="457200"/>
          </a:xfrm>
          <a:prstGeom prst="rect">
            <a:avLst/>
          </a:prstGeom>
        </p:spPr>
        <p:txBody>
          <a:bodyPr/>
          <a:lstStyle/>
          <a:p>
            <a:fld id="{675416BA-65F7-274A-AD61-D0FA78F3AA6E}" type="slidenum">
              <a:rPr lang="en-US" smtClean="0">
                <a:solidFill>
                  <a:prstClr val="black"/>
                </a:solidFill>
              </a:rPr>
              <a:pPr/>
              <a:t>14</a:t>
            </a:fld>
            <a:endParaRPr lang="en-US" dirty="0">
              <a:solidFill>
                <a:prstClr val="black"/>
              </a:solidFill>
            </a:endParaRPr>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3617876067"/>
      </p:ext>
    </p:extLst>
  </p:cSld>
  <p:clrMapOvr>
    <a:masterClrMapping/>
  </p:clrMapOvr>
</p:notes>
</file>

<file path=ppt/notesSlides/notesSlide1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lstStyle/>
          <a:p>
            <a:r>
              <a:rPr lang="sv-SE" sz="1050" kern="1200" dirty="0">
                <a:solidFill>
                  <a:schemeClr val="tx1"/>
                </a:solidFill>
                <a:effectLst/>
                <a:latin typeface="Segoe UI" pitchFamily="34" charset="0"/>
                <a:ea typeface="+mn-ea"/>
                <a:cs typeface="Segoe UI" pitchFamily="34" charset="0"/>
              </a:rPr>
              <a:t>Now, when we have explored different options to administrate Microsoft 365 so lets have a look at an example of assigning licenses to individuals. </a:t>
            </a:r>
          </a:p>
          <a:p>
            <a:endParaRPr lang="sv-SE" sz="1050" kern="1200" dirty="0">
              <a:solidFill>
                <a:schemeClr val="tx1"/>
              </a:solidFill>
              <a:effectLst/>
              <a:latin typeface="Segoe UI" pitchFamily="34" charset="0"/>
              <a:ea typeface="+mn-ea"/>
              <a:cs typeface="Segoe UI" pitchFamily="34" charset="0"/>
            </a:endParaRPr>
          </a:p>
          <a:p>
            <a:r>
              <a:rPr lang="sv-SE" sz="1050" kern="1200" dirty="0">
                <a:solidFill>
                  <a:schemeClr val="tx1"/>
                </a:solidFill>
                <a:effectLst/>
                <a:latin typeface="Segoe UI" pitchFamily="34" charset="0"/>
                <a:ea typeface="+mn-ea"/>
                <a:cs typeface="Segoe UI" pitchFamily="34" charset="0"/>
              </a:rPr>
              <a:t>You can see that this is possible with </a:t>
            </a:r>
          </a:p>
          <a:p>
            <a:pPr marL="228600" marR="0" lvl="0" indent="-228600" algn="l" defTabSz="609585" rtl="0" eaLnBrk="1" fontAlgn="auto" latinLnBrk="0" hangingPunct="1">
              <a:lnSpc>
                <a:spcPct val="100000"/>
              </a:lnSpc>
              <a:spcBef>
                <a:spcPts val="400"/>
              </a:spcBef>
              <a:spcAft>
                <a:spcPts val="800"/>
              </a:spcAft>
              <a:buClrTx/>
              <a:buSzTx/>
              <a:buFontTx/>
              <a:buAutoNum type="arabicPeriod"/>
              <a:tabLst/>
              <a:defRPr/>
            </a:pPr>
            <a:r>
              <a:rPr lang="sv-SE" sz="1050" kern="1200" dirty="0">
                <a:solidFill>
                  <a:schemeClr val="tx1"/>
                </a:solidFill>
                <a:effectLst/>
                <a:latin typeface="Segoe UI" pitchFamily="34" charset="0"/>
                <a:ea typeface="+mn-ea"/>
                <a:cs typeface="Segoe UI" pitchFamily="34" charset="0"/>
              </a:rPr>
              <a:t>Either using a Management Interfaces like </a:t>
            </a:r>
            <a:r>
              <a:rPr lang="en-AU" sz="1050" kern="1200" baseline="0" dirty="0">
                <a:solidFill>
                  <a:schemeClr val="tx1"/>
                </a:solidFill>
                <a:latin typeface="Segoe UI" pitchFamily="34" charset="0"/>
                <a:ea typeface="+mn-ea"/>
                <a:cs typeface="Segoe UI" pitchFamily="34" charset="0"/>
              </a:rPr>
              <a:t>Microsoft 365 Admin </a:t>
            </a:r>
            <a:r>
              <a:rPr lang="en-US" sz="1050" kern="1200" baseline="0" dirty="0">
                <a:solidFill>
                  <a:schemeClr val="tx1"/>
                </a:solidFill>
                <a:latin typeface="Segoe UI" pitchFamily="34" charset="0"/>
                <a:ea typeface="+mn-ea"/>
                <a:cs typeface="Segoe UI" pitchFamily="34" charset="0"/>
              </a:rPr>
              <a:t>Center</a:t>
            </a:r>
            <a:r>
              <a:rPr lang="en-AU" sz="1050" kern="1200" baseline="0" dirty="0">
                <a:solidFill>
                  <a:schemeClr val="tx1"/>
                </a:solidFill>
                <a:latin typeface="Segoe UI" pitchFamily="34" charset="0"/>
                <a:ea typeface="+mn-ea"/>
                <a:cs typeface="Segoe UI" pitchFamily="34" charset="0"/>
              </a:rPr>
              <a:t> </a:t>
            </a:r>
          </a:p>
          <a:p>
            <a:pPr marL="228600" marR="0" lvl="0" indent="-228600" algn="l" defTabSz="609585" rtl="0" eaLnBrk="1" fontAlgn="auto" latinLnBrk="0" hangingPunct="1">
              <a:lnSpc>
                <a:spcPct val="100000"/>
              </a:lnSpc>
              <a:spcBef>
                <a:spcPts val="400"/>
              </a:spcBef>
              <a:spcAft>
                <a:spcPts val="800"/>
              </a:spcAft>
              <a:buClrTx/>
              <a:buSzTx/>
              <a:buFontTx/>
              <a:buAutoNum type="arabicPeriod"/>
              <a:tabLst/>
              <a:defRPr/>
            </a:pPr>
            <a:r>
              <a:rPr lang="en-AU" sz="1050" b="0" kern="1200" baseline="0" dirty="0">
                <a:solidFill>
                  <a:schemeClr val="tx1"/>
                </a:solidFill>
                <a:latin typeface="Segoe UI" pitchFamily="34" charset="0"/>
                <a:ea typeface="+mn-ea"/>
                <a:cs typeface="Segoe UI" pitchFamily="34" charset="0"/>
              </a:rPr>
              <a:t>OR</a:t>
            </a:r>
            <a:r>
              <a:rPr lang="en-AU" sz="1050" kern="1200" baseline="0" dirty="0">
                <a:solidFill>
                  <a:schemeClr val="tx1"/>
                </a:solidFill>
                <a:latin typeface="Segoe UI" pitchFamily="34" charset="0"/>
                <a:ea typeface="+mn-ea"/>
                <a:cs typeface="Segoe UI" pitchFamily="34" charset="0"/>
              </a:rPr>
              <a:t> from the </a:t>
            </a:r>
            <a:r>
              <a:rPr lang="en-US" sz="1050" b="0" i="1" u="none" strike="noStrike" kern="1200" dirty="0">
                <a:solidFill>
                  <a:schemeClr val="bg1"/>
                </a:solidFill>
                <a:effectLst/>
                <a:latin typeface="Segoe UI" pitchFamily="34" charset="0"/>
                <a:ea typeface="+mn-ea"/>
                <a:cs typeface="Segoe UI" pitchFamily="34" charset="0"/>
              </a:rPr>
              <a:t>Azure Active Directory PowerShell for Graph</a:t>
            </a:r>
          </a:p>
          <a:p>
            <a:pPr marL="228600" marR="0" lvl="0" indent="-228600" algn="l" defTabSz="609585" rtl="0" eaLnBrk="1" fontAlgn="auto" latinLnBrk="0" hangingPunct="1">
              <a:lnSpc>
                <a:spcPct val="100000"/>
              </a:lnSpc>
              <a:spcBef>
                <a:spcPts val="400"/>
              </a:spcBef>
              <a:spcAft>
                <a:spcPts val="800"/>
              </a:spcAft>
              <a:buClrTx/>
              <a:buSzTx/>
              <a:buFontTx/>
              <a:buAutoNum type="arabicPeriod"/>
              <a:tabLst/>
              <a:defRPr/>
            </a:pPr>
            <a:r>
              <a:rPr lang="sv-SE" sz="1050" kern="1200" dirty="0">
                <a:solidFill>
                  <a:schemeClr val="tx1"/>
                </a:solidFill>
                <a:effectLst/>
                <a:latin typeface="Segoe UI" pitchFamily="34" charset="0"/>
                <a:ea typeface="+mn-ea"/>
                <a:cs typeface="Segoe UI" pitchFamily="34" charset="0"/>
              </a:rPr>
              <a:t>Event with Azure AD connect tool with group-bases licensing.</a:t>
            </a:r>
            <a:endParaRPr lang="en-SE" sz="1050" kern="1200" dirty="0">
              <a:solidFill>
                <a:schemeClr val="tx1"/>
              </a:solidFill>
              <a:effectLst/>
              <a:latin typeface="Segoe UI" pitchFamily="34" charset="0"/>
              <a:ea typeface="+mn-ea"/>
              <a:cs typeface="Segoe UI" pitchFamily="34" charset="0"/>
            </a:endParaRPr>
          </a:p>
          <a:p>
            <a:endParaRPr lang="en-US" sz="1050" kern="1200" dirty="0">
              <a:solidFill>
                <a:schemeClr val="tx1"/>
              </a:solidFill>
              <a:effectLst/>
              <a:latin typeface="Segoe UI" pitchFamily="34" charset="0"/>
              <a:ea typeface="+mn-ea"/>
              <a:cs typeface="Segoe UI" pitchFamily="34" charset="0"/>
            </a:endParaRPr>
          </a:p>
          <a:p>
            <a:endParaRPr lang="en-US" sz="1050" kern="1200" dirty="0">
              <a:solidFill>
                <a:schemeClr val="tx1"/>
              </a:solidFill>
              <a:effectLst/>
              <a:latin typeface="Segoe UI" pitchFamily="34" charset="0"/>
              <a:ea typeface="+mn-ea"/>
              <a:cs typeface="Segoe UI" pitchFamily="34" charset="0"/>
            </a:endParaRPr>
          </a:p>
          <a:p>
            <a:endParaRPr lang="en-US" sz="1050" kern="1200" dirty="0">
              <a:solidFill>
                <a:schemeClr val="tx1"/>
              </a:solidFill>
              <a:effectLst/>
              <a:latin typeface="Segoe UI" pitchFamily="34" charset="0"/>
              <a:ea typeface="+mn-ea"/>
              <a:cs typeface="Segoe UI" pitchFamily="34" charset="0"/>
            </a:endParaRPr>
          </a:p>
          <a:p>
            <a:endParaRPr lang="en-US" dirty="0"/>
          </a:p>
        </p:txBody>
      </p:sp>
      <p:sp>
        <p:nvSpPr>
          <p:cNvPr id="4" name="Slide Number Placeholder 3"/>
          <p:cNvSpPr>
            <a:spLocks noGrp="1"/>
          </p:cNvSpPr>
          <p:nvPr>
            <p:ph type="sldNum" sz="quarter" idx="10"/>
          </p:nvPr>
        </p:nvSpPr>
        <p:spPr>
          <a:xfrm>
            <a:off x="5076967" y="8685213"/>
            <a:ext cx="1779446" cy="457200"/>
          </a:xfrm>
          <a:prstGeom prst="rect">
            <a:avLst/>
          </a:prstGeom>
        </p:spPr>
        <p:txBody>
          <a:bodyPr/>
          <a:lstStyle/>
          <a:p>
            <a:fld id="{675416BA-65F7-274A-AD61-D0FA78F3AA6E}" type="slidenum">
              <a:rPr lang="en-US" smtClean="0"/>
              <a:pPr/>
              <a:t>15</a:t>
            </a:fld>
            <a:endParaRPr lang="en-US" dirty="0"/>
          </a:p>
        </p:txBody>
      </p:sp>
    </p:spTree>
    <p:extLst>
      <p:ext uri="{BB962C8B-B14F-4D97-AF65-F5344CB8AC3E}">
        <p14:creationId xmlns:p14="http://schemas.microsoft.com/office/powerpoint/2010/main" val="1169545500"/>
      </p:ext>
    </p:extLst>
  </p:cSld>
  <p:clrMapOvr>
    <a:masterClrMapping/>
  </p:clrMapOvr>
</p:notes>
</file>

<file path=ppt/notesSlides/notesSlide1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1655494641"/>
      </p:ext>
    </p:extLst>
  </p:cSld>
  <p:clrMapOvr>
    <a:masterClrMapping/>
  </p:clrMapOvr>
</p:notes>
</file>

<file path=ppt/notesSlides/notesSlide1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US" sz="1000" b="1" dirty="0"/>
              <a:t>Your onmicrosoft.com domain in Microsoft </a:t>
            </a:r>
            <a:r>
              <a:rPr lang="en-US" sz="1000" b="1" dirty="0" err="1"/>
              <a:t>Microsoft</a:t>
            </a:r>
            <a:r>
              <a:rPr lang="en-US" sz="1000" b="1" dirty="0"/>
              <a:t> 365</a:t>
            </a:r>
            <a:endParaRPr lang="en-US" sz="1000" dirty="0"/>
          </a:p>
          <a:p>
            <a:pPr marL="0" indent="0">
              <a:buNone/>
            </a:pPr>
            <a:r>
              <a:rPr lang="en-US" sz="1000" dirty="0"/>
              <a:t>Microsoft 365 creates a domain for you, such as contoso.onmicrosoft.com, when you sign up with the service. The user ID that you create when you sign up includes the domain, such as eli@contoso.onmicrosoft.com. You can keep using this domain for your user ID and for other users that you add to your account. Some people do this while using a trial version.</a:t>
            </a:r>
          </a:p>
          <a:p>
            <a:pPr marL="0" indent="0">
              <a:buNone/>
            </a:pPr>
            <a:endParaRPr lang="en-US" sz="1000" b="1" dirty="0"/>
          </a:p>
          <a:p>
            <a:pPr marL="0" indent="0">
              <a:buNone/>
            </a:pPr>
            <a:r>
              <a:rPr lang="en-US" sz="1000" b="1" dirty="0"/>
              <a:t>Your initial onmicrosoft.com and SharePoint domains</a:t>
            </a:r>
            <a:endParaRPr lang="en-US" sz="1000" dirty="0"/>
          </a:p>
          <a:p>
            <a:pPr marL="0" indent="0">
              <a:buNone/>
            </a:pPr>
            <a:r>
              <a:rPr lang="en-US" sz="1000" dirty="0"/>
              <a:t>Your Microsoft 365 account has two initial domains: an onmicrosoft.com domain and a SharePoint Online domain.</a:t>
            </a:r>
          </a:p>
          <a:p>
            <a:pPr marL="0" indent="0">
              <a:buNone/>
            </a:pPr>
            <a:r>
              <a:rPr lang="en-US" sz="1000" dirty="0"/>
              <a:t>You can use your onmicrosoft.com domain (like fourthcoffee.onmicrosoft.com) with most Microsoft 365</a:t>
            </a:r>
            <a:r>
              <a:rPr lang="en-US" sz="1000" baseline="0" dirty="0"/>
              <a:t> such as Microsoft Exchange Online and Skype for Business.</a:t>
            </a:r>
            <a:endParaRPr lang="en-US" sz="1000" dirty="0"/>
          </a:p>
          <a:p>
            <a:pPr marL="0" indent="0">
              <a:buNone/>
            </a:pPr>
            <a:endParaRPr lang="en-US" sz="1000" b="1" dirty="0"/>
          </a:p>
          <a:p>
            <a:pPr marL="0" indent="0">
              <a:buNone/>
            </a:pPr>
            <a:r>
              <a:rPr lang="en-US" sz="1000" b="1" dirty="0"/>
              <a:t>Note</a:t>
            </a:r>
            <a:r>
              <a:rPr lang="en-US" sz="1000" dirty="0"/>
              <a:t>: You cannot rename your initial onmicrosoft.com domain after you choose that domain at sign-up. For example, if the initial domain you chose during Microsoft 365 signup was fourthcoffee.onmicrosoft.com, you cannot change it to be fabrikam.onmicrosoft.com. To use a different onmicrosoft.com domain, you would have to open a new account with Microsoft 365. </a:t>
            </a:r>
          </a:p>
        </p:txBody>
      </p:sp>
      <p:sp>
        <p:nvSpPr>
          <p:cNvPr id="8" name="Slide Image Placeholder 7"/>
          <p:cNvSpPr>
            <a:spLocks noGrp="1" noRot="1" noChangeAspect="1"/>
          </p:cNvSpPr>
          <p:nvPr>
            <p:ph type="sldImg"/>
          </p:nvPr>
        </p:nvSpPr>
        <p:spPr>
          <a:xfrm>
            <a:off x="381000" y="482600"/>
            <a:ext cx="6096000" cy="3429000"/>
          </a:xfrm>
        </p:spPr>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4074227898"/>
      </p:ext>
    </p:extLst>
  </p:cSld>
  <p:clrMapOvr>
    <a:masterClrMapping/>
  </p:clrMapOvr>
</p:notes>
</file>

<file path=ppt/notesSlides/notesSlide1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US" b="1" dirty="0"/>
              <a:t>Why add your own domain? What can you do with it?</a:t>
            </a:r>
            <a:endParaRPr lang="en-US" dirty="0"/>
          </a:p>
          <a:p>
            <a:pPr marL="0" indent="0">
              <a:buNone/>
            </a:pPr>
            <a:r>
              <a:rPr lang="en-US" dirty="0"/>
              <a:t>When people are ready to use Microsoft 365 for their business, most would rather have email (and a website) that includes their own domain, like fourthcoffee.com. To be clear: there is no requirement to add your own domain; you can keep using the onmicrosoft.com domain with Microsoft 365 and never switch. But using your own domain lets you have an easy-to-remember Microsoft 365 email address (which is also your user ID) and website URL for your business.</a:t>
            </a:r>
          </a:p>
          <a:p>
            <a:pPr marL="0" indent="0">
              <a:buNone/>
            </a:pPr>
            <a:r>
              <a:rPr lang="en-US" dirty="0"/>
              <a:t>Let us suppose that you decide to add your custom domain to Microsoft 365. After you finish, when you look in your list of domains in Microsoft 365, you will see the domain you added, such as fourthcoffee.com, and the initial domain—the one that includes onmicrosoft.com.</a:t>
            </a:r>
          </a:p>
          <a:p>
            <a:pPr marL="0" indent="0">
              <a:buNone/>
            </a:pPr>
            <a:endParaRPr lang="en-US" dirty="0"/>
          </a:p>
          <a:p>
            <a:pPr marL="0" indent="0">
              <a:buNone/>
            </a:pPr>
            <a:r>
              <a:rPr lang="en-US" dirty="0"/>
              <a:t>For example, now you can: </a:t>
            </a:r>
            <a:endParaRPr lang="en-US" b="1" dirty="0"/>
          </a:p>
          <a:p>
            <a:r>
              <a:rPr lang="en-US" b="1" dirty="0"/>
              <a:t>Use your domain with email addresses </a:t>
            </a:r>
            <a:endParaRPr lang="en-US" dirty="0"/>
          </a:p>
          <a:p>
            <a:pPr marL="185738" indent="0">
              <a:buNone/>
            </a:pPr>
            <a:r>
              <a:rPr lang="en-US" dirty="0"/>
              <a:t>After you add your domain, you can change users’ email addresses to use the more familiar domain name. </a:t>
            </a:r>
          </a:p>
          <a:p>
            <a:pPr marL="401628" lvl="1" indent="-228600">
              <a:buFont typeface="+mj-lt"/>
              <a:buAutoNum type="arabicPeriod"/>
            </a:pPr>
            <a:r>
              <a:rPr lang="en-US" dirty="0"/>
              <a:t>Go to </a:t>
            </a:r>
            <a:r>
              <a:rPr lang="en-US" b="1" dirty="0"/>
              <a:t>Admin</a:t>
            </a:r>
            <a:r>
              <a:rPr lang="en-US" dirty="0"/>
              <a:t> &gt; </a:t>
            </a:r>
            <a:r>
              <a:rPr lang="en-US" b="1" dirty="0"/>
              <a:t>Users and groups</a:t>
            </a:r>
            <a:r>
              <a:rPr lang="en-US" dirty="0"/>
              <a:t>. </a:t>
            </a:r>
          </a:p>
          <a:p>
            <a:pPr marL="401628" lvl="1" indent="-228600">
              <a:buFont typeface="+mj-lt"/>
              <a:buAutoNum type="arabicPeriod"/>
            </a:pPr>
            <a:r>
              <a:rPr lang="en-US" dirty="0"/>
              <a:t>Click the user that you want to edit, and then click </a:t>
            </a:r>
            <a:r>
              <a:rPr lang="en-US" b="1" dirty="0"/>
              <a:t>Edit</a:t>
            </a:r>
            <a:r>
              <a:rPr lang="en-US" dirty="0"/>
              <a:t>. </a:t>
            </a:r>
          </a:p>
          <a:p>
            <a:pPr marL="401628" lvl="1" indent="-228600">
              <a:buFont typeface="+mj-lt"/>
              <a:buAutoNum type="arabicPeriod"/>
            </a:pPr>
            <a:r>
              <a:rPr lang="en-US" dirty="0"/>
              <a:t>For the user’s email address, click the drop-down list, and then choose your custom domain name.</a:t>
            </a:r>
          </a:p>
          <a:p>
            <a:pPr lvl="0"/>
            <a:endParaRPr lang="en-US" b="1" dirty="0"/>
          </a:p>
          <a:p>
            <a:pPr marL="0" indent="0">
              <a:buNone/>
            </a:pPr>
            <a:endParaRPr lang="en-US" b="1" dirty="0"/>
          </a:p>
        </p:txBody>
      </p:sp>
      <p:sp>
        <p:nvSpPr>
          <p:cNvPr id="8" name="Slide Image Placeholder 7"/>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1909532392"/>
      </p:ext>
    </p:extLst>
  </p:cSld>
  <p:clrMapOvr>
    <a:masterClrMapping/>
  </p:clrMapOvr>
</p:notes>
</file>

<file path=ppt/notesSlides/notesSlide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314457988"/>
      </p:ext>
    </p:extLst>
  </p:cSld>
  <p:clrMapOvr>
    <a:masterClrMapping/>
  </p:clrMapOvr>
</p:notes>
</file>

<file path=ppt/notesSlides/notesSlide2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US" dirty="0"/>
              <a:t>Before you set up your domain, keep in mind the following: </a:t>
            </a:r>
          </a:p>
          <a:p>
            <a:pPr lvl="0"/>
            <a:r>
              <a:rPr lang="en-US" dirty="0"/>
              <a:t>To add a domain, you must have already registered a domain and have the sign-in credentials needed for your domain name registrar.</a:t>
            </a:r>
          </a:p>
          <a:p>
            <a:pPr lvl="0"/>
            <a:r>
              <a:rPr lang="en-US" dirty="0"/>
              <a:t>If you are currently using custom domains with another Microsoft cloud service, you cannot add the same domains to Microsoft 365.</a:t>
            </a:r>
          </a:p>
          <a:p>
            <a:pPr lvl="0"/>
            <a:r>
              <a:rPr lang="en-US" dirty="0"/>
              <a:t>You can add multiple domains to Microsoft 365. However, you cannot add the same domain to different Microsoft 365 tenants. </a:t>
            </a:r>
          </a:p>
          <a:p>
            <a:pPr lvl="0"/>
            <a:r>
              <a:rPr lang="en-US" dirty="0"/>
              <a:t>You can add a domain name to Microsoft 365 by using any of the following:</a:t>
            </a:r>
          </a:p>
          <a:p>
            <a:pPr lvl="1"/>
            <a:r>
              <a:rPr lang="en-US" dirty="0"/>
              <a:t>The Add your domain wizard in the Microsoft 365 Admin Center.</a:t>
            </a:r>
          </a:p>
          <a:p>
            <a:pPr lvl="1"/>
            <a:r>
              <a:rPr lang="en-US" dirty="0"/>
              <a:t>The New-</a:t>
            </a:r>
            <a:r>
              <a:rPr lang="en-US" dirty="0" err="1"/>
              <a:t>AzureADDomain</a:t>
            </a:r>
            <a:r>
              <a:rPr lang="en-US" dirty="0"/>
              <a:t> cmdlet in the Microsoft Azure Active Directory Module for Windows PowerShell.</a:t>
            </a:r>
          </a:p>
        </p:txBody>
      </p:sp>
      <p:sp>
        <p:nvSpPr>
          <p:cNvPr id="6" name="Slide Image Placeholder 5"/>
          <p:cNvSpPr>
            <a:spLocks noGrp="1" noRot="1" noChangeAspect="1"/>
          </p:cNvSpPr>
          <p:nvPr>
            <p:ph type="sldImg"/>
          </p:nvPr>
        </p:nvSpPr>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1584198040"/>
      </p:ext>
    </p:extLst>
  </p:cSld>
  <p:clrMapOvr>
    <a:masterClrMapping/>
  </p:clrMapOvr>
</p:notes>
</file>

<file path=ppt/notesSlides/notesSlide2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894001400"/>
      </p:ext>
    </p:extLst>
  </p:cSld>
  <p:clrMapOvr>
    <a:masterClrMapping/>
  </p:clrMapOvr>
</p:notes>
</file>

<file path=ppt/notesSlides/notesSlide2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5076967" y="8685213"/>
            <a:ext cx="1779446" cy="457200"/>
          </a:xfrm>
          <a:prstGeom prst="rect">
            <a:avLst/>
          </a:prstGeom>
        </p:spPr>
        <p:txBody>
          <a:bodyPr/>
          <a:lstStyle/>
          <a:p>
            <a:fld id="{675416BA-65F7-274A-AD61-D0FA78F3AA6E}" type="slidenum">
              <a:rPr lang="en-US" smtClean="0"/>
              <a:pPr/>
              <a:t>22</a:t>
            </a:fld>
            <a:endParaRPr lang="en-US" dirty="0"/>
          </a:p>
        </p:txBody>
      </p:sp>
    </p:spTree>
    <p:extLst>
      <p:ext uri="{BB962C8B-B14F-4D97-AF65-F5344CB8AC3E}">
        <p14:creationId xmlns:p14="http://schemas.microsoft.com/office/powerpoint/2010/main" val="2486182426"/>
      </p:ext>
    </p:extLst>
  </p:cSld>
  <p:clrMapOvr>
    <a:masterClrMapping/>
  </p:clrMapOvr>
</p:notes>
</file>

<file path=ppt/notesSlides/notesSlide2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89DB6A-E92B-415B-AFB4-9C72D4A9006D}"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987716247"/>
      </p:ext>
    </p:extLst>
  </p:cSld>
  <p:clrMapOvr>
    <a:masterClrMapping/>
  </p:clrMapOvr>
</p:notes>
</file>

<file path=ppt/notesSlides/notesSlide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Lets explore the quickest way to administrate Microsoft 365 using </a:t>
            </a:r>
            <a:r>
              <a:rPr lang="sv-SE" b="1" dirty="0"/>
              <a:t>Microsoft 365 Admin Center</a:t>
            </a:r>
            <a:endParaRPr lang="en-US" b="1"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93892414"/>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a:xfrm>
            <a:off x="5076967" y="8685213"/>
            <a:ext cx="1779446" cy="457200"/>
          </a:xfrm>
          <a:prstGeom prst="rect">
            <a:avLst/>
          </a:prstGeom>
        </p:spPr>
        <p:txBody>
          <a:bodyPr/>
          <a:lstStyle/>
          <a:p>
            <a:fld id="{675416BA-65F7-274A-AD61-D0FA78F3AA6E}" type="slidenum">
              <a:rPr lang="en-US" smtClean="0"/>
              <a:pPr/>
              <a:t>5</a:t>
            </a:fld>
            <a:endParaRPr lang="en-US" dirty="0"/>
          </a:p>
        </p:txBody>
      </p:sp>
    </p:spTree>
    <p:extLst>
      <p:ext uri="{BB962C8B-B14F-4D97-AF65-F5344CB8AC3E}">
        <p14:creationId xmlns:p14="http://schemas.microsoft.com/office/powerpoint/2010/main" val="426042741"/>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50" b="1" dirty="0"/>
              <a:t>Microsoft </a:t>
            </a:r>
            <a:r>
              <a:rPr lang="en-US" sz="1050" b="1" dirty="0" err="1"/>
              <a:t>Microsoft</a:t>
            </a:r>
            <a:r>
              <a:rPr lang="en-US" sz="1050" b="1" dirty="0"/>
              <a:t> 365 Admin Center</a:t>
            </a:r>
            <a:endParaRPr lang="en-US" sz="1050" dirty="0"/>
          </a:p>
          <a:p>
            <a:pPr marL="171450" lvl="0" indent="-171450">
              <a:buFont typeface="Arial" panose="020B0604020202020204" pitchFamily="34" charset="0"/>
              <a:buChar char="•"/>
            </a:pPr>
            <a:r>
              <a:rPr lang="en-US" sz="1050" dirty="0"/>
              <a:t>A web portal from which an administrator can manage user accounts, licenses, domains, and settings for each of the Microsoft 365 services to which they subscribe.</a:t>
            </a:r>
          </a:p>
          <a:p>
            <a:pPr marL="171450" marR="0" lvl="0" indent="-171450" algn="l" defTabSz="609585" rtl="0" eaLnBrk="1" fontAlgn="auto" latinLnBrk="0" hangingPunct="1">
              <a:lnSpc>
                <a:spcPct val="100000"/>
              </a:lnSpc>
              <a:spcBef>
                <a:spcPts val="400"/>
              </a:spcBef>
              <a:spcAft>
                <a:spcPts val="800"/>
              </a:spcAft>
              <a:buClrTx/>
              <a:buSzTx/>
              <a:buFont typeface="Arial" panose="020B0604020202020204" pitchFamily="34" charset="0"/>
              <a:buChar char="•"/>
              <a:tabLst/>
              <a:defRPr/>
            </a:pPr>
            <a:r>
              <a:rPr lang="en-US" sz="1050" dirty="0"/>
              <a:t>Accessed from </a:t>
            </a:r>
            <a:r>
              <a:rPr lang="en-US" sz="1050" u="sng" dirty="0">
                <a:hlinkClick r:id="rId3"/>
              </a:rPr>
              <a:t>https://portal.office.com</a:t>
            </a:r>
            <a:r>
              <a:rPr lang="en-US" sz="1050" u="sng" dirty="0"/>
              <a:t> </a:t>
            </a:r>
          </a:p>
          <a:p>
            <a:pPr marL="171450" lvl="0" indent="-171450">
              <a:buFont typeface="Arial" panose="020B0604020202020204" pitchFamily="34" charset="0"/>
              <a:buChar char="•"/>
            </a:pPr>
            <a:r>
              <a:rPr lang="en-US" sz="1050" dirty="0"/>
              <a:t>Users access the same URL but get a different view rendered (depending on the permissions assigned).</a:t>
            </a:r>
          </a:p>
          <a:p>
            <a:r>
              <a:rPr lang="en-US" sz="1050" b="1" dirty="0"/>
              <a:t>Azure Active Directory Module for Windows PowerShell</a:t>
            </a:r>
            <a:r>
              <a:rPr lang="en-US" sz="1050" dirty="0"/>
              <a:t> </a:t>
            </a:r>
          </a:p>
          <a:p>
            <a:pPr marL="171450" lvl="0" indent="-171450">
              <a:buFont typeface="Arial" panose="020B0604020202020204" pitchFamily="34" charset="0"/>
              <a:buChar char="•"/>
            </a:pPr>
            <a:r>
              <a:rPr lang="en-US" sz="1050" dirty="0"/>
              <a:t>The Windows PowerShell equivalent of the Microsoft 365 Admin Center</a:t>
            </a:r>
          </a:p>
          <a:p>
            <a:pPr marL="171450" lvl="0" indent="-171450">
              <a:buFont typeface="Arial" panose="020B0604020202020204" pitchFamily="34" charset="0"/>
              <a:buChar char="•"/>
            </a:pPr>
            <a:r>
              <a:rPr lang="en-US" sz="1050" dirty="0"/>
              <a:t>The Azure Active Directory PowerShell for Graph module does not completely replace the functionality in the cmdlets of Microsoft Azure Active Directory Module for Windows PowerShell module for user, group, and license administration. In many cases, you need to use both versions. You can safely install both versions on the same computer.</a:t>
            </a:r>
          </a:p>
          <a:p>
            <a:pPr marL="171450" lvl="0" indent="-171450">
              <a:buFont typeface="Arial" panose="020B0604020202020204" pitchFamily="34" charset="0"/>
              <a:buChar char="•"/>
            </a:pPr>
            <a:r>
              <a:rPr lang="en-US" sz="1050" dirty="0"/>
              <a:t>Also see </a:t>
            </a:r>
            <a:br>
              <a:rPr lang="en-US" sz="1050" dirty="0"/>
            </a:br>
            <a:r>
              <a:rPr lang="en-US" sz="1050" b="1" i="0" u="none" strike="noStrike" kern="1200" dirty="0">
                <a:solidFill>
                  <a:schemeClr val="tx1"/>
                </a:solidFill>
                <a:effectLst/>
                <a:latin typeface="Segoe UI" pitchFamily="34" charset="0"/>
                <a:ea typeface="+mn-ea"/>
                <a:cs typeface="Segoe UI" pitchFamily="34" charset="0"/>
              </a:rPr>
              <a:t>Connect to all Microsoft 365 services in a single Windows PowerShell window</a:t>
            </a:r>
            <a:endParaRPr lang="en-US" sz="1050" dirty="0"/>
          </a:p>
          <a:p>
            <a:pPr marL="0" lvl="0" indent="0">
              <a:buFont typeface="Arial" panose="020B0604020202020204" pitchFamily="34" charset="0"/>
              <a:buNone/>
            </a:pPr>
            <a:r>
              <a:rPr lang="en-US" sz="1050" dirty="0"/>
              <a:t>https://docs.microsoft.com/en-us/office365/enterprise/powershell/connect-to-all-office-365-services-in-a-single-windows-powershell-window</a:t>
            </a:r>
          </a:p>
          <a:p>
            <a:pPr marL="171450" lvl="0" indent="-171450">
              <a:buFont typeface="Arial" panose="020B0604020202020204" pitchFamily="34" charset="0"/>
              <a:buChar char="•"/>
            </a:pPr>
            <a:endParaRPr lang="en-US" sz="1050" dirty="0"/>
          </a:p>
          <a:p>
            <a:endParaRPr lang="en-US" dirty="0"/>
          </a:p>
        </p:txBody>
      </p:sp>
      <p:sp>
        <p:nvSpPr>
          <p:cNvPr id="4" name="Slide Number Placeholder 3"/>
          <p:cNvSpPr>
            <a:spLocks noGrp="1"/>
          </p:cNvSpPr>
          <p:nvPr>
            <p:ph type="sldNum" sz="quarter" idx="10"/>
          </p:nvPr>
        </p:nvSpPr>
        <p:spPr>
          <a:xfrm>
            <a:off x="5076967" y="8685213"/>
            <a:ext cx="1779446" cy="457200"/>
          </a:xfrm>
          <a:prstGeom prst="rect">
            <a:avLst/>
          </a:prstGeom>
        </p:spPr>
        <p:txBody>
          <a:bodyPr/>
          <a:lstStyle/>
          <a:p>
            <a:fld id="{675416BA-65F7-274A-AD61-D0FA78F3AA6E}" type="slidenum">
              <a:rPr lang="en-US" smtClean="0"/>
              <a:pPr/>
              <a:t>6</a:t>
            </a:fld>
            <a:endParaRPr lang="en-US" dirty="0"/>
          </a:p>
        </p:txBody>
      </p:sp>
      <p:sp>
        <p:nvSpPr>
          <p:cNvPr id="6" name="Slide Image Placeholder 5"/>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711415463"/>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tions for app launch tiles</a:t>
            </a:r>
          </a:p>
          <a:p>
            <a:r>
              <a:rPr lang="en-US" dirty="0"/>
              <a:t>- Open in a new tab</a:t>
            </a:r>
          </a:p>
          <a:p>
            <a:r>
              <a:rPr lang="en-US" dirty="0"/>
              <a:t>- Unpin from app launcher</a:t>
            </a:r>
          </a:p>
          <a:p>
            <a:r>
              <a:rPr lang="en-US" dirty="0"/>
              <a:t>- Pin to navigation bar</a:t>
            </a:r>
          </a:p>
          <a:p>
            <a:r>
              <a:rPr lang="en-US" dirty="0"/>
              <a:t>- Resize</a:t>
            </a:r>
          </a:p>
        </p:txBody>
      </p:sp>
      <p:sp>
        <p:nvSpPr>
          <p:cNvPr id="4" name="Slide Number Placeholder 3"/>
          <p:cNvSpPr>
            <a:spLocks noGrp="1"/>
          </p:cNvSpPr>
          <p:nvPr>
            <p:ph type="sldNum" sz="quarter" idx="10"/>
          </p:nvPr>
        </p:nvSpPr>
        <p:spPr>
          <a:xfrm>
            <a:off x="5076967" y="8685213"/>
            <a:ext cx="1779446" cy="457200"/>
          </a:xfrm>
          <a:prstGeom prst="rect">
            <a:avLst/>
          </a:prstGeom>
        </p:spPr>
        <p:txBody>
          <a:bodyPr/>
          <a:lstStyle/>
          <a:p>
            <a:fld id="{675416BA-65F7-274A-AD61-D0FA78F3AA6E}" type="slidenum">
              <a:rPr lang="en-US" smtClean="0"/>
              <a:pPr/>
              <a:t>7</a:t>
            </a:fld>
            <a:endParaRPr lang="en-US" dirty="0"/>
          </a:p>
        </p:txBody>
      </p:sp>
    </p:spTree>
    <p:extLst>
      <p:ext uri="{BB962C8B-B14F-4D97-AF65-F5344CB8AC3E}">
        <p14:creationId xmlns:p14="http://schemas.microsoft.com/office/powerpoint/2010/main" val="3075277530"/>
      </p:ext>
    </p:extLst>
  </p:cSld>
  <p:clrMapOvr>
    <a:masterClrMapping/>
  </p:clrMapOvr>
</p:notes>
</file>

<file path=ppt/notesSlides/notesSlide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lstStyle/>
          <a:p>
            <a:r>
              <a:rPr lang="en-US" baseline="0" dirty="0"/>
              <a:t>Point to different Admin Centers available for specific administration tasks and just talked about SharePoint Admin Center (This is not a place where we go into details of SharePoint Admin Center)</a:t>
            </a:r>
          </a:p>
          <a:p>
            <a:endParaRPr lang="en-US" dirty="0"/>
          </a:p>
        </p:txBody>
      </p:sp>
      <p:sp>
        <p:nvSpPr>
          <p:cNvPr id="4" name="Slide Number Placeholder 3"/>
          <p:cNvSpPr>
            <a:spLocks noGrp="1"/>
          </p:cNvSpPr>
          <p:nvPr>
            <p:ph type="sldNum" sz="quarter" idx="10"/>
          </p:nvPr>
        </p:nvSpPr>
        <p:spPr>
          <a:xfrm>
            <a:off x="5076967" y="8685213"/>
            <a:ext cx="1779446" cy="457200"/>
          </a:xfrm>
          <a:prstGeom prst="rect">
            <a:avLst/>
          </a:prstGeom>
        </p:spPr>
        <p:txBody>
          <a:bodyPr/>
          <a:lstStyle/>
          <a:p>
            <a:fld id="{675416BA-65F7-274A-AD61-D0FA78F3AA6E}" type="slidenum">
              <a:rPr lang="en-US" smtClean="0"/>
              <a:pPr/>
              <a:t>8</a:t>
            </a:fld>
            <a:endParaRPr lang="en-US" dirty="0"/>
          </a:p>
        </p:txBody>
      </p:sp>
    </p:spTree>
    <p:extLst>
      <p:ext uri="{BB962C8B-B14F-4D97-AF65-F5344CB8AC3E}">
        <p14:creationId xmlns:p14="http://schemas.microsoft.com/office/powerpoint/2010/main" val="1096468139"/>
      </p:ext>
    </p:extLst>
  </p:cSld>
  <p:clrMapOvr>
    <a:masterClrMapping/>
  </p:clrMapOvr>
</p:notes>
</file>

<file path=ppt/notesSlides/notesSlide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5076967" y="8685213"/>
            <a:ext cx="1779446" cy="457200"/>
          </a:xfrm>
          <a:prstGeom prst="rect">
            <a:avLst/>
          </a:prstGeom>
        </p:spPr>
        <p:txBody>
          <a:bodyPr/>
          <a:lstStyle/>
          <a:p>
            <a:fld id="{675416BA-65F7-274A-AD61-D0FA78F3AA6E}" type="slidenum">
              <a:rPr lang="en-US" smtClean="0"/>
              <a:pPr/>
              <a:t>9</a:t>
            </a:fld>
            <a:endParaRPr lang="en-US" dirty="0"/>
          </a:p>
        </p:txBody>
      </p:sp>
    </p:spTree>
    <p:extLst>
      <p:ext uri="{BB962C8B-B14F-4D97-AF65-F5344CB8AC3E}">
        <p14:creationId xmlns:p14="http://schemas.microsoft.com/office/powerpoint/2010/main" val="23218584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3.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bin"/><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bin"/><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hasCustomPrompt="1"/>
          </p:nvPr>
        </p:nvSpPr>
        <p:spPr>
          <a:xfrm>
            <a:off x="655637" y="2487168"/>
            <a:ext cx="4352925" cy="1097280"/>
          </a:xfrm>
        </p:spPr>
        <p:txBody>
          <a:bodyPr bIns="45720" anchor="b">
            <a:noAutofit/>
          </a:bodyPr>
          <a:lstStyle>
            <a:lvl1pPr algn="l">
              <a:defRPr sz="2800">
                <a:solidFill>
                  <a:schemeClr val="tx1"/>
                </a:solidFill>
              </a:defRPr>
            </a:lvl1pPr>
          </a:lstStyle>
          <a:p>
            <a:r>
              <a:rPr lang="en-US" noProof="0" dirty="0"/>
              <a:t>Tit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hasCustomPrompt="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Module x</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6" name="M365CO19_ENT_Android_236" descr="Male business executive looking out office window with Android mobile device in hand.">
            <a:extLst>
              <a:ext uri="{FF2B5EF4-FFF2-40B4-BE49-F238E27FC236}">
                <a16:creationId xmlns:a16="http://schemas.microsoft.com/office/drawing/2014/main" id="{63F1F8C3-0B3D-4E7A-88CD-282F1ECB1A70}"/>
              </a:ext>
            </a:extLst>
          </p:cNvPr>
          <p:cNvPicPr>
            <a:picLocks noChangeAspect="1"/>
          </p:cNvPicPr>
          <p:nvPr>
            <p:custDataLst>
              <p:tags r:id="rId1"/>
            </p:custDataLst>
          </p:nvPr>
        </p:nvPicPr>
        <p:blipFill rotWithShape="1">
          <a:blip r:embed="rId5" cstate="screen">
            <a:extLst>
              <a:ext uri="{28A0092B-C50C-407E-A947-70E740481C1C}">
                <a14:useLocalDpi xmlns:a14="http://schemas.microsoft.com/office/drawing/2010/main"/>
              </a:ext>
            </a:extLst>
          </a:blip>
          <a:srcRect l="16617" r="16617"/>
          <a:stretch/>
        </p:blipFill>
        <p:spPr>
          <a:xfrm>
            <a:off x="5334000" y="3175"/>
            <a:ext cx="6858000" cy="6858000"/>
          </a:xfrm>
          <a:prstGeom prst="rect">
            <a:avLst/>
          </a:prstGeom>
        </p:spPr>
      </p:pic>
      <p:pic>
        <p:nvPicPr>
          <p:cNvPr id="8" name="M365CO19_ENT_Android_236" descr="Male business executive looking out office window with Android mobile device in hand.">
            <a:extLst>
              <a:ext uri="{FF2B5EF4-FFF2-40B4-BE49-F238E27FC236}">
                <a16:creationId xmlns:a16="http://schemas.microsoft.com/office/drawing/2014/main" id="{4FE1572D-4AE5-484E-8AB4-514BABB05106}"/>
              </a:ext>
            </a:extLst>
          </p:cNvPr>
          <p:cNvPicPr>
            <a:picLocks noChangeAspect="1"/>
          </p:cNvPicPr>
          <p:nvPr userDrawn="1">
            <p:custDataLst>
              <p:tags r:id="rId2"/>
            </p:custDataLst>
          </p:nvPr>
        </p:nvPicPr>
        <p:blipFill rotWithShape="1">
          <a:blip r:embed="rId5" cstate="screen">
            <a:extLst>
              <a:ext uri="{28A0092B-C50C-407E-A947-70E740481C1C}">
                <a14:useLocalDpi xmlns:a14="http://schemas.microsoft.com/office/drawing/2010/main"/>
              </a:ext>
            </a:extLst>
          </a:blip>
          <a:srcRect l="16617" r="16617"/>
          <a:stretch/>
        </p:blipFill>
        <p:spPr>
          <a:xfrm>
            <a:off x="5334000" y="3175"/>
            <a:ext cx="6858000" cy="6858000"/>
          </a:xfrm>
          <a:prstGeom prst="rect">
            <a:avLst/>
          </a:prstGeom>
        </p:spPr>
      </p:pic>
    </p:spTree>
    <p:extLst>
      <p:ext uri="{BB962C8B-B14F-4D97-AF65-F5344CB8AC3E}">
        <p14:creationId xmlns:p14="http://schemas.microsoft.com/office/powerpoint/2010/main" val="81817994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hasCustomPrompt="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Sub-Heading</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a:defRPr sz="2400"/>
            </a:lvl1pPr>
            <a:lvl5pPr>
              <a:defRPr/>
            </a:lvl5pPr>
          </a:lstStyle>
          <a:p>
            <a:pPr lvl="0"/>
            <a:r>
              <a:rPr lang="en-US" noProof="0" dirty="0"/>
              <a:t>Lis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69425368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619245661"/>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57872029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KM">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graphicFrame>
        <p:nvGraphicFramePr>
          <p:cNvPr id="3" name="Diagram 2">
            <a:extLst>
              <a:ext uri="{FF2B5EF4-FFF2-40B4-BE49-F238E27FC236}">
                <a16:creationId xmlns:a16="http://schemas.microsoft.com/office/drawing/2014/main" id="{535EA832-A1A7-41CD-8707-A69029427CB3}"/>
              </a:ext>
            </a:extLst>
          </p:cNvPr>
          <p:cNvGraphicFramePr/>
          <p:nvPr>
            <p:extLst>
              <p:ext uri="{D42A27DB-BD31-4B8C-83A1-F6EECF244321}">
                <p14:modId xmlns:p14="http://schemas.microsoft.com/office/powerpoint/2010/main" val="945784491"/>
              </p:ext>
            </p:extLst>
          </p:nvPr>
        </p:nvGraphicFramePr>
        <p:xfrm>
          <a:off x="655636" y="1408114"/>
          <a:ext cx="10880724" cy="47017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64030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9ABF26A1-E35D-40CE-9C6A-6D9293AC9DE6}"/>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5D58313F-9DE1-4E96-A788-2DBC72FED5EA}"/>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graphicEl>
                                              <a:dgm id="{9F7B2DF3-2C7C-490E-B6A4-FC8E9C8E88C9}"/>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graphicEl>
                                              <a:dgm id="{1DA964AC-4A55-4A27-8D2A-96D58EBA493A}"/>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graphicEl>
                                              <a:dgm id="{CC44156B-E35B-4AA6-BAAD-A093BF798483}"/>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graphicEl>
                                              <a:dgm id="{28C15B55-83BE-4F22-AB61-34F84B57745B}"/>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1838170791"/>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Title Only">
    <p:bg>
      <p:bgPr>
        <a:solidFill>
          <a:srgbClr val="243A5E"/>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lvl1pPr>
              <a:defRPr>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27297739"/>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3213831"/>
            <a:ext cx="5284787" cy="3013931"/>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3213831"/>
            <a:ext cx="5284785" cy="301393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3 Content Placeholder left">
            <a:extLst>
              <a:ext uri="{FF2B5EF4-FFF2-40B4-BE49-F238E27FC236}">
                <a16:creationId xmlns:a16="http://schemas.microsoft.com/office/drawing/2014/main" id="{0809F1C3-92E0-43D9-A1DD-84447DEDF05A}"/>
              </a:ext>
            </a:extLst>
          </p:cNvPr>
          <p:cNvSpPr>
            <a:spLocks noGrp="1"/>
          </p:cNvSpPr>
          <p:nvPr>
            <p:ph sz="quarter" idx="15"/>
          </p:nvPr>
        </p:nvSpPr>
        <p:spPr>
          <a:xfrm>
            <a:off x="655637" y="1248048"/>
            <a:ext cx="10880724" cy="174168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707062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3738880"/>
            <a:ext cx="10880726" cy="248888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2344528"/>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26203629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1606186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78348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7951AEF9-47FF-4DE6-B6CD-00229DD8D6D5}"/>
              </a:ext>
            </a:extLst>
          </p:cNvPr>
          <p:cNvSpPr>
            <a:spLocks noGrp="1"/>
          </p:cNvSpPr>
          <p:nvPr>
            <p:ph type="body" sz="quarter" idx="11"/>
          </p:nvPr>
        </p:nvSpPr>
        <p:spPr>
          <a:xfrm>
            <a:off x="5008563" y="630238"/>
            <a:ext cx="6527800" cy="559752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8C5A3FB9-3681-4470-9515-9E433CB99DCD}"/>
              </a:ext>
            </a:extLst>
          </p:cNvPr>
          <p:cNvSpPr>
            <a:spLocks noGrp="1"/>
          </p:cNvSpPr>
          <p:nvPr>
            <p:ph type="title"/>
          </p:nvPr>
        </p:nvSpPr>
        <p:spPr>
          <a:xfrm>
            <a:off x="655639" y="630238"/>
            <a:ext cx="3152330" cy="5597524"/>
          </a:xfrm>
        </p:spPr>
        <p:txBody>
          <a:bodyPr anchor="ct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425535227"/>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826010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641099085"/>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639900781"/>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2943694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9754888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44680747"/>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64718310"/>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20010171"/>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46274707"/>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31684050"/>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p:nvPr>
        </p:nvSpPr>
        <p:spPr>
          <a:xfrm>
            <a:off x="8420100" y="630237"/>
            <a:ext cx="3116263" cy="5597525"/>
          </a:xfrm>
        </p:spPr>
        <p:txBody>
          <a:bodyPr anchor="ctr">
            <a:noAutofit/>
          </a:bodyPr>
          <a:lstStyle>
            <a:lvl1pPr>
              <a:defRPr>
                <a:solidFill>
                  <a:schemeClr val="bg1"/>
                </a:solidFill>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736881" y="630236"/>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p:txBody>
      </p:sp>
    </p:spTree>
    <p:extLst>
      <p:ext uri="{BB962C8B-B14F-4D97-AF65-F5344CB8AC3E}">
        <p14:creationId xmlns:p14="http://schemas.microsoft.com/office/powerpoint/2010/main" val="2386078795"/>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33233228"/>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643872845"/>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732169167"/>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82729147"/>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70103301"/>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4793467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4248363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1554251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18026415"/>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0" indent="0">
              <a:spcAft>
                <a:spcPts val="1200"/>
              </a:spcAft>
              <a:buFont typeface="Arial" panose="020B0604020202020204" pitchFamily="34" charset="0"/>
              <a:buNone/>
              <a:defRPr sz="2400"/>
            </a:lvl1pPr>
            <a:lvl2pPr marL="342900" indent="-342900">
              <a:buFont typeface="Arial" panose="020B0604020202020204" pitchFamily="34" charset="0"/>
              <a:buChar cha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31802680"/>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65263380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8040180"/>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4548445"/>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8455477"/>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351239"/>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dirty="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87298032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804308124"/>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676342267"/>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51311897"/>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470600625"/>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821332418"/>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3002617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7521215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2_Title and text side by side">
    <p:spTree>
      <p:nvGrpSpPr>
        <p:cNvPr id="1" name=""/>
        <p:cNvGrpSpPr/>
        <p:nvPr/>
      </p:nvGrpSpPr>
      <p:grpSpPr>
        <a:xfrm>
          <a:off x="0" y="0"/>
          <a:ext cx="0" cy="0"/>
          <a:chOff x="0" y="0"/>
          <a:chExt cx="0" cy="0"/>
        </a:xfrm>
      </p:grpSpPr>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Learning Units covered in this Modu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hasCustomPrompt="1"/>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r>
              <a:rPr lang="en-US" dirty="0"/>
              <a:t>Learning 1</a:t>
            </a:r>
          </a:p>
          <a:p>
            <a:r>
              <a:rPr lang="en-US" dirty="0"/>
              <a:t>Learning 2</a:t>
            </a:r>
          </a:p>
        </p:txBody>
      </p:sp>
    </p:spTree>
    <p:extLst>
      <p:ext uri="{BB962C8B-B14F-4D97-AF65-F5344CB8AC3E}">
        <p14:creationId xmlns:p14="http://schemas.microsoft.com/office/powerpoint/2010/main" val="4126704747"/>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10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483491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9721751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emo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Demonstration&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PS Read line</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02BDC52-EDD0-4378-9D43-56BE2973EC68}"/>
              </a:ext>
            </a:extLst>
          </p:cNvPr>
          <p:cNvPicPr>
            <a:picLocks noChangeAspect="1"/>
          </p:cNvPicPr>
          <p:nvPr>
            <p:custDataLst>
              <p:tags r:id="rId1"/>
            </p:custDataLst>
          </p:nvPr>
        </p:nvPicPr>
        <p:blipFill rotWithShape="1">
          <a:blip r:embed="rId3" cstate="screen">
            <a:extLst>
              <a:ext uri="{28A0092B-C50C-407E-A947-70E740481C1C}">
                <a14:useLocalDpi xmlns:a14="http://schemas.microsoft.com/office/drawing/2010/main"/>
              </a:ext>
            </a:extLst>
          </a:blip>
          <a:srcRect l="5986" r="5986"/>
          <a:stretch/>
        </p:blipFill>
        <p:spPr>
          <a:xfrm>
            <a:off x="5362448" y="0"/>
            <a:ext cx="6858000" cy="6858000"/>
          </a:xfrm>
          <a:prstGeom prst="rect">
            <a:avLst/>
          </a:prstGeom>
        </p:spPr>
      </p:pic>
    </p:spTree>
    <p:extLst>
      <p:ext uri="{BB962C8B-B14F-4D97-AF65-F5344CB8AC3E}">
        <p14:creationId xmlns:p14="http://schemas.microsoft.com/office/powerpoint/2010/main" val="439829396"/>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ab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Lab Name&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Lab Description</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5" name="Lab" descr="A close up of a sign&#10;">
            <a:extLst>
              <a:ext uri="{FF2B5EF4-FFF2-40B4-BE49-F238E27FC236}">
                <a16:creationId xmlns:a16="http://schemas.microsoft.com/office/drawing/2014/main" id="{C0E3C3B5-9CC7-46D1-A4EF-077A0F4B5F52}"/>
              </a:ext>
            </a:extLst>
          </p:cNvPr>
          <p:cNvPicPr>
            <a:picLocks noChangeAspect="1"/>
          </p:cNvPicPr>
          <p:nvPr>
            <p:custDataLst>
              <p:tags r:id="rId1"/>
            </p:custDataLst>
          </p:nvPr>
        </p:nvPicPr>
        <p:blipFill>
          <a:blip r:embed="rId3">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extLst>
      <p:ext uri="{BB962C8B-B14F-4D97-AF65-F5344CB8AC3E}">
        <p14:creationId xmlns:p14="http://schemas.microsoft.com/office/powerpoint/2010/main" val="378326071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Question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Questions?&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pic>
        <p:nvPicPr>
          <p:cNvPr id="7" name="Multiple Question Marks" descr="Multiple Question Marks">
            <a:extLst>
              <a:ext uri="{FF2B5EF4-FFF2-40B4-BE49-F238E27FC236}">
                <a16:creationId xmlns:a16="http://schemas.microsoft.com/office/drawing/2014/main" id="{DFA98C70-EDD1-4FDA-BC92-DE43A3A9C9C7}"/>
              </a:ext>
            </a:extLst>
          </p:cNvPr>
          <p:cNvPicPr>
            <a:picLocks noChangeAspect="1"/>
          </p:cNvPicPr>
          <p:nvPr>
            <p:custDataLst>
              <p:tags r:id="rId1"/>
            </p:custDataLst>
          </p:nvPr>
        </p:nvPicPr>
        <p:blipFill rotWithShape="1">
          <a:blip r:embed="rId3">
            <a:extLst>
              <a:ext uri="{28A0092B-C50C-407E-A947-70E740481C1C}">
                <a14:useLocalDpi xmlns:a14="http://schemas.microsoft.com/office/drawing/2010/main" val="0"/>
              </a:ext>
            </a:extLst>
          </a:blip>
          <a:srcRect t="409" b="409"/>
          <a:stretch/>
        </p:blipFill>
        <p:spPr>
          <a:xfrm>
            <a:off x="5283518" y="0"/>
            <a:ext cx="6908482" cy="6858000"/>
          </a:xfrm>
          <a:prstGeom prst="rect">
            <a:avLst/>
          </a:prstGeom>
        </p:spPr>
      </p:pic>
    </p:spTree>
    <p:extLst>
      <p:ext uri="{BB962C8B-B14F-4D97-AF65-F5344CB8AC3E}">
        <p14:creationId xmlns:p14="http://schemas.microsoft.com/office/powerpoint/2010/main" val="3669512646"/>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_Square_Photo">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86885809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1.emf"/><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3.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4.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8"/>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56427684"/>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 id="2147484069" r:id="rId13"/>
    <p:sldLayoutId id="2147484070" r:id="rId14"/>
    <p:sldLayoutId id="2147484071" r:id="rId15"/>
    <p:sldLayoutId id="2147484072" r:id="rId16"/>
    <p:sldLayoutId id="2147484073" r:id="rId17"/>
    <p:sldLayoutId id="2147484074" r:id="rId18"/>
    <p:sldLayoutId id="2147484075" r:id="rId19"/>
    <p:sldLayoutId id="2147484076" r:id="rId20"/>
    <p:sldLayoutId id="2147484077" r:id="rId21"/>
    <p:sldLayoutId id="2147484078" r:id="rId22"/>
    <p:sldLayoutId id="2147484079" r:id="rId23"/>
    <p:sldLayoutId id="2147484080" r:id="rId24"/>
    <p:sldLayoutId id="2147484081" r:id="rId25"/>
    <p:sldLayoutId id="2147484082" r:id="rId26"/>
    <p:sldLayoutId id="2147484083" r:id="rId27"/>
    <p:sldLayoutId id="2147484084" r:id="rId28"/>
    <p:sldLayoutId id="2147484085" r:id="rId29"/>
    <p:sldLayoutId id="2147484086" r:id="rId30"/>
    <p:sldLayoutId id="2147484087" r:id="rId31"/>
    <p:sldLayoutId id="2147484088" r:id="rId32"/>
    <p:sldLayoutId id="2147484089" r:id="rId33"/>
    <p:sldLayoutId id="2147484090" r:id="rId34"/>
    <p:sldLayoutId id="2147484091" r:id="rId35"/>
    <p:sldLayoutId id="2147484092" r:id="rId36"/>
    <p:sldLayoutId id="2147484093" r:id="rId37"/>
    <p:sldLayoutId id="2147484094" r:id="rId38"/>
    <p:sldLayoutId id="2147484095" r:id="rId39"/>
    <p:sldLayoutId id="2147484096" r:id="rId40"/>
    <p:sldLayoutId id="2147484097" r:id="rId41"/>
    <p:sldLayoutId id="2147484098" r:id="rId42"/>
    <p:sldLayoutId id="2147484099" r:id="rId43"/>
    <p:sldLayoutId id="2147484100" r:id="rId44"/>
    <p:sldLayoutId id="2147484101" r:id="rId45"/>
    <p:sldLayoutId id="2147484102" r:id="rId46"/>
    <p:sldLayoutId id="2147484103" r:id="rId47"/>
    <p:sldLayoutId id="2147484104" r:id="rId48"/>
    <p:sldLayoutId id="2147484105" r:id="rId49"/>
    <p:sldLayoutId id="2147484106" r:id="rId50"/>
    <p:sldLayoutId id="2147484107" r:id="rId51"/>
    <p:sldLayoutId id="2147484108" r:id="rId52"/>
    <p:sldLayoutId id="2147484040" r:id="rId53"/>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2.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hyperlink" Target="https://portal.onmicrosoft.com/" TargetMode="External"/><Relationship Id="rId2" Type="http://schemas.openxmlformats.org/officeDocument/2006/relationships/notesSlide" Target="../notesSlides/notesSlide14.xml"/><Relationship Id="rId1" Type="http://schemas.openxmlformats.org/officeDocument/2006/relationships/slideLayout" Target="../slideLayouts/slideLayout14.xml"/><Relationship Id="rId6" Type="http://schemas.openxmlformats.org/officeDocument/2006/relationships/image" Target="../media/image13.png"/><Relationship Id="rId5" Type="http://schemas.openxmlformats.org/officeDocument/2006/relationships/hyperlink" Target="https://activedirectory.windowsazure.com/" TargetMode="External"/><Relationship Id="rId4" Type="http://schemas.openxmlformats.org/officeDocument/2006/relationships/hyperlink" Target="https://tenant-admin.sharepoint.com/" TargetMode="Externa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1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7.xml"/><Relationship Id="rId1" Type="http://schemas.openxmlformats.org/officeDocument/2006/relationships/slideLayout" Target="../slideLayouts/slideLayout10.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9.xml"/><Relationship Id="rId1" Type="http://schemas.openxmlformats.org/officeDocument/2006/relationships/slideLayout" Target="../slideLayouts/slideLayout1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0.xml"/><Relationship Id="rId1" Type="http://schemas.openxmlformats.org/officeDocument/2006/relationships/slideLayout" Target="../slideLayouts/slideLayout10.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1.xml"/><Relationship Id="rId1" Type="http://schemas.openxmlformats.org/officeDocument/2006/relationships/slideLayout" Target="../slideLayouts/slideLayout11.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14.xml"/><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55637" y="2487168"/>
            <a:ext cx="4352925" cy="1097280"/>
          </a:xfrm>
        </p:spPr>
        <p:txBody>
          <a:bodyPr/>
          <a:lstStyle/>
          <a:p>
            <a:r>
              <a:rPr lang="en-US" dirty="0"/>
              <a:t>Microsoft 365 Administration Fundamentals</a:t>
            </a:r>
            <a:endParaRPr lang="nb-NO" dirty="0"/>
          </a:p>
        </p:txBody>
      </p:sp>
      <p:sp>
        <p:nvSpPr>
          <p:cNvPr id="3" name="Text Placeholder 2"/>
          <p:cNvSpPr>
            <a:spLocks noGrp="1"/>
          </p:cNvSpPr>
          <p:nvPr>
            <p:ph type="subTitle" idx="1"/>
          </p:nvPr>
        </p:nvSpPr>
        <p:spPr>
          <a:xfrm>
            <a:off x="655638" y="3895090"/>
            <a:ext cx="4352924" cy="311150"/>
          </a:xfrm>
        </p:spPr>
        <p:txBody>
          <a:bodyPr>
            <a:normAutofit lnSpcReduction="10000"/>
          </a:bodyPr>
          <a:lstStyle/>
          <a:p>
            <a:r>
              <a:rPr lang="nb-NO"/>
              <a:t>Speaker Name</a:t>
            </a:r>
            <a:endParaRPr lang="nb-NO" dirty="0"/>
          </a:p>
        </p:txBody>
      </p:sp>
      <p:sp>
        <p:nvSpPr>
          <p:cNvPr id="6" name="Picture Placeholder 5">
            <a:extLst>
              <a:ext uri="{FF2B5EF4-FFF2-40B4-BE49-F238E27FC236}">
                <a16:creationId xmlns:a16="http://schemas.microsoft.com/office/drawing/2014/main" id="{3A069C12-FC99-4BA7-9D89-4283FEFEEE35}"/>
              </a:ext>
            </a:extLst>
          </p:cNvPr>
          <p:cNvSpPr>
            <a:spLocks noGrp="1"/>
          </p:cNvSpPr>
          <p:nvPr>
            <p:ph type="pic" sz="quarter" idx="17"/>
          </p:nvPr>
        </p:nvSpPr>
        <p:spPr/>
      </p:sp>
    </p:spTree>
    <p:extLst>
      <p:ext uri="{BB962C8B-B14F-4D97-AF65-F5344CB8AC3E}">
        <p14:creationId xmlns:p14="http://schemas.microsoft.com/office/powerpoint/2010/main" val="1622115308"/>
      </p:ext>
    </p:extLst>
  </p:cSld>
  <p:clrMapOvr>
    <a:masterClrMapping/>
  </p:clrMapOvr>
</p:sld>
</file>

<file path=ppt/slides/slide10.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2979777"/>
            <a:ext cx="9015411" cy="604798"/>
          </a:xfrm>
        </p:spPr>
        <p:txBody>
          <a:bodyPr/>
          <a:lstStyle/>
          <a:p>
            <a:r>
              <a:rPr lang="en-US" dirty="0"/>
              <a:t>Overview</a:t>
            </a:r>
            <a:br>
              <a:rPr lang="en-US" dirty="0"/>
            </a:br>
            <a:br>
              <a:rPr lang="en-US" dirty="0"/>
            </a:br>
            <a:r>
              <a:rPr lang="en-US" dirty="0"/>
              <a:t>Microsoft 365 Management Shells</a:t>
            </a:r>
            <a:endParaRPr lang="nb-NO" dirty="0"/>
          </a:p>
        </p:txBody>
      </p:sp>
    </p:spTree>
    <p:extLst>
      <p:ext uri="{BB962C8B-B14F-4D97-AF65-F5344CB8AC3E}">
        <p14:creationId xmlns:p14="http://schemas.microsoft.com/office/powerpoint/2010/main" val="2468035404"/>
      </p:ext>
    </p:extLst>
  </p:cSld>
  <p:clrMapOvr>
    <a:masterClrMapping/>
  </p:clrMapOvr>
</p:sld>
</file>

<file path=ppt/slides/slide1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0" tIns="0" rIns="0" bIns="0" rtlCol="0" anchor="t">
            <a:normAutofit/>
          </a:bodyPr>
          <a:lstStyle/>
          <a:p>
            <a:r>
              <a:rPr lang="en-US" b="0" kern="1200" cap="none" spc="-50" baseline="0">
                <a:ln w="3175">
                  <a:noFill/>
                </a:ln>
                <a:effectLst/>
                <a:latin typeface="+mj-lt"/>
                <a:ea typeface="+mn-ea"/>
                <a:cs typeface="Segoe UI" pitchFamily="34" charset="0"/>
              </a:rPr>
              <a:t>Windows PowerShell</a:t>
            </a:r>
          </a:p>
        </p:txBody>
      </p:sp>
      <p:sp>
        <p:nvSpPr>
          <p:cNvPr id="6" name="Freeform: Shape 5">
            <a:extLst>
              <a:ext uri="{FF2B5EF4-FFF2-40B4-BE49-F238E27FC236}">
                <a16:creationId xmlns:a16="http://schemas.microsoft.com/office/drawing/2014/main" id="{73DE07BD-E9B4-4706-A198-9A80ED832F6F}"/>
              </a:ext>
            </a:extLst>
          </p:cNvPr>
          <p:cNvSpPr/>
          <p:nvPr/>
        </p:nvSpPr>
        <p:spPr>
          <a:xfrm>
            <a:off x="655638" y="1408113"/>
            <a:ext cx="5284787" cy="481965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lIns="0" tIns="0" rIns="0" bIns="0" numCol="1" spcCol="1270" rtlCol="0" anchorCtr="0">
            <a:normAutofit lnSpcReduction="10000"/>
          </a:bodyPr>
          <a:lstStyle/>
          <a:p>
            <a:pPr defTabSz="932688">
              <a:lnSpc>
                <a:spcPct val="90000"/>
              </a:lnSpc>
              <a:spcBef>
                <a:spcPts val="672"/>
              </a:spcBef>
              <a:spcAft>
                <a:spcPct val="20000"/>
              </a:spcAft>
              <a:buClr>
                <a:schemeClr val="tx1"/>
              </a:buClr>
              <a:buSzPct val="90000"/>
              <a:buFont typeface="Wingdings" panose="05000000000000000000" pitchFamily="2" charset="2"/>
            </a:pPr>
            <a:r>
              <a:rPr lang="en-US" sz="2200" dirty="0">
                <a:solidFill>
                  <a:schemeClr val="tx1"/>
                </a:solidFill>
              </a:rPr>
              <a:t>Windows PowerShell can be used to connect to and manage Microsoft 365</a:t>
            </a:r>
          </a:p>
          <a:p>
            <a:pPr marL="342900" indent="-342900" defTabSz="932688">
              <a:lnSpc>
                <a:spcPct val="90000"/>
              </a:lnSpc>
              <a:spcBef>
                <a:spcPts val="672"/>
              </a:spcBef>
              <a:spcAft>
                <a:spcPct val="20000"/>
              </a:spcAft>
              <a:buClr>
                <a:schemeClr val="tx1"/>
              </a:buClr>
              <a:buSzPct val="90000"/>
              <a:buFont typeface="Arial" panose="020B0604020202020204" pitchFamily="34" charset="0"/>
              <a:buChar char="•"/>
            </a:pPr>
            <a:r>
              <a:rPr lang="en-US" sz="2200" dirty="0">
                <a:solidFill>
                  <a:schemeClr val="tx1"/>
                </a:solidFill>
              </a:rPr>
              <a:t>Microsoft Azure Active Directory Module </a:t>
            </a:r>
          </a:p>
          <a:p>
            <a:pPr marL="800100" lvl="1" indent="-342900" defTabSz="932688">
              <a:lnSpc>
                <a:spcPct val="90000"/>
              </a:lnSpc>
              <a:spcBef>
                <a:spcPts val="672"/>
              </a:spcBef>
              <a:spcAft>
                <a:spcPct val="20000"/>
              </a:spcAft>
              <a:buClr>
                <a:schemeClr val="tx1"/>
              </a:buClr>
              <a:buSzPct val="90000"/>
              <a:buFont typeface="Arial" panose="020B0604020202020204" pitchFamily="34" charset="0"/>
              <a:buChar char="•"/>
            </a:pPr>
            <a:r>
              <a:rPr lang="en-US" sz="2200" dirty="0">
                <a:solidFill>
                  <a:schemeClr val="tx1"/>
                </a:solidFill>
              </a:rPr>
              <a:t>The Azure Active Directory Module is being replaced by the Microsoft Graph PowerShell SDK</a:t>
            </a:r>
          </a:p>
          <a:p>
            <a:pPr marL="342900" indent="-342900" defTabSz="932688">
              <a:lnSpc>
                <a:spcPct val="90000"/>
              </a:lnSpc>
              <a:spcBef>
                <a:spcPts val="672"/>
              </a:spcBef>
              <a:spcAft>
                <a:spcPct val="20000"/>
              </a:spcAft>
              <a:buClr>
                <a:schemeClr val="tx1"/>
              </a:buClr>
              <a:buSzPct val="90000"/>
              <a:buFont typeface="Arial" panose="020B0604020202020204" pitchFamily="34" charset="0"/>
              <a:buChar char="•"/>
            </a:pPr>
            <a:r>
              <a:rPr lang="en-US" sz="2200" dirty="0">
                <a:solidFill>
                  <a:schemeClr val="tx1"/>
                </a:solidFill>
              </a:rPr>
              <a:t>SharePoint Online Management Shell</a:t>
            </a:r>
          </a:p>
          <a:p>
            <a:pPr marL="342900" indent="-342900" defTabSz="932688">
              <a:lnSpc>
                <a:spcPct val="90000"/>
              </a:lnSpc>
              <a:spcBef>
                <a:spcPts val="672"/>
              </a:spcBef>
              <a:spcAft>
                <a:spcPct val="20000"/>
              </a:spcAft>
              <a:buClr>
                <a:schemeClr val="tx1"/>
              </a:buClr>
              <a:buSzPct val="90000"/>
              <a:buFont typeface="Arial" panose="020B0604020202020204" pitchFamily="34" charset="0"/>
              <a:buChar char="•"/>
            </a:pPr>
            <a:r>
              <a:rPr lang="en-US" sz="2200" dirty="0">
                <a:solidFill>
                  <a:schemeClr val="tx1"/>
                </a:solidFill>
              </a:rPr>
              <a:t>PowerShell for Exchange Online</a:t>
            </a:r>
          </a:p>
          <a:p>
            <a:pPr marL="342900" indent="-342900" defTabSz="932688">
              <a:lnSpc>
                <a:spcPct val="90000"/>
              </a:lnSpc>
              <a:spcBef>
                <a:spcPts val="672"/>
              </a:spcBef>
              <a:spcAft>
                <a:spcPct val="20000"/>
              </a:spcAft>
              <a:buClr>
                <a:schemeClr val="tx1"/>
              </a:buClr>
              <a:buSzPct val="90000"/>
              <a:buFont typeface="Arial" panose="020B0604020202020204" pitchFamily="34" charset="0"/>
              <a:buChar char="•"/>
            </a:pPr>
            <a:r>
              <a:rPr lang="en-US" sz="2200" b="0" i="0" u="none" dirty="0">
                <a:solidFill>
                  <a:schemeClr val="tx1"/>
                </a:solidFill>
              </a:rPr>
              <a:t>Skype for Business Online/Microsoft Teams Windows PowerShell Module</a:t>
            </a:r>
          </a:p>
          <a:p>
            <a:pPr marL="342900" indent="-342900" defTabSz="932688">
              <a:lnSpc>
                <a:spcPct val="90000"/>
              </a:lnSpc>
              <a:spcBef>
                <a:spcPts val="672"/>
              </a:spcBef>
              <a:spcAft>
                <a:spcPct val="20000"/>
              </a:spcAft>
              <a:buClr>
                <a:schemeClr val="tx1"/>
              </a:buClr>
              <a:buSzPct val="90000"/>
              <a:buFont typeface="Arial" panose="020B0604020202020204" pitchFamily="34" charset="0"/>
              <a:buChar char="•"/>
            </a:pPr>
            <a:r>
              <a:rPr lang="en-US" sz="2200" dirty="0">
                <a:solidFill>
                  <a:schemeClr val="tx1"/>
                </a:solidFill>
              </a:rPr>
              <a:t>Security &amp; Compliance Center PowerShell </a:t>
            </a:r>
          </a:p>
        </p:txBody>
      </p:sp>
      <p:pic>
        <p:nvPicPr>
          <p:cNvPr id="8" name="Video 7">
            <a:extLst>
              <a:ext uri="{FF2B5EF4-FFF2-40B4-BE49-F238E27FC236}">
                <a16:creationId xmlns:a16="http://schemas.microsoft.com/office/drawing/2014/main" id="{1879E945-9240-4800-ACAF-07A7C4A9C844}"/>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5"/>
          <a:srcRect r="43589" b="-1"/>
          <a:stretch/>
        </p:blipFill>
        <p:spPr>
          <a:xfrm>
            <a:off x="6477270" y="1408113"/>
            <a:ext cx="4833397" cy="4819650"/>
          </a:xfrm>
          <a:prstGeom prst="rect">
            <a:avLst/>
          </a:prstGeom>
          <a:noFill/>
        </p:spPr>
      </p:pic>
    </p:spTree>
    <p:extLst>
      <p:ext uri="{BB962C8B-B14F-4D97-AF65-F5344CB8AC3E}">
        <p14:creationId xmlns:p14="http://schemas.microsoft.com/office/powerpoint/2010/main" val="11683211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8554"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8"/>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8"/>
                                        </p:tgtEl>
                                      </p:cBhvr>
                                    </p:cmd>
                                  </p:childTnLst>
                                </p:cTn>
                              </p:par>
                            </p:childTnLst>
                          </p:cTn>
                        </p:par>
                      </p:childTnLst>
                    </p:cTn>
                  </p:par>
                </p:childTnLst>
              </p:cTn>
              <p:nextCondLst>
                <p:cond evt="onClick" delay="0">
                  <p:tgtEl>
                    <p:spTgt spid="8"/>
                  </p:tgtEl>
                </p:cond>
              </p:nextCondLst>
            </p:seq>
            <p:video>
              <p:cMediaNode mute="1">
                <p:cTn id="12" repeatCount="indefinite" fill="hold" display="0">
                  <p:stCondLst>
                    <p:cond delay="indefinite"/>
                  </p:stCondLst>
                </p:cTn>
                <p:tgtEl>
                  <p:spTgt spid="8"/>
                </p:tgtEl>
              </p:cMediaNode>
            </p:video>
          </p:childTnLst>
        </p:cTn>
      </p:par>
    </p:tnLst>
  </p:timing>
</p:sld>
</file>

<file path=ppt/slides/slide1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pPr lvl="0"/>
            <a:r>
              <a:rPr lang="en-US" dirty="0"/>
              <a:t>Azure Active Directory PowerShell for Graph</a:t>
            </a:r>
          </a:p>
        </p:txBody>
      </p:sp>
      <p:sp>
        <p:nvSpPr>
          <p:cNvPr id="7" name="Content Placeholder 6">
            <a:extLst>
              <a:ext uri="{FF2B5EF4-FFF2-40B4-BE49-F238E27FC236}">
                <a16:creationId xmlns:a16="http://schemas.microsoft.com/office/drawing/2014/main" id="{6D6C6375-0510-4861-8C2C-08FA732BF1DD}"/>
              </a:ext>
            </a:extLst>
          </p:cNvPr>
          <p:cNvSpPr>
            <a:spLocks noGrp="1"/>
          </p:cNvSpPr>
          <p:nvPr>
            <p:ph sz="quarter" idx="13"/>
          </p:nvPr>
        </p:nvSpPr>
        <p:spPr>
          <a:xfrm>
            <a:off x="655638" y="1408114"/>
            <a:ext cx="10880726" cy="4819650"/>
          </a:xfrm>
        </p:spPr>
        <p:txBody>
          <a:bodyPr>
            <a:normAutofit/>
          </a:bodyPr>
          <a:lstStyle/>
          <a:p>
            <a:pPr lvl="0">
              <a:lnSpc>
                <a:spcPct val="110000"/>
              </a:lnSpc>
              <a:spcBef>
                <a:spcPts val="600"/>
              </a:spcBef>
            </a:pPr>
            <a:r>
              <a:rPr lang="en-US" dirty="0"/>
              <a:t>Azure Active Directory PowerShell for Graph </a:t>
            </a:r>
            <a:r>
              <a:rPr lang="en-AU" dirty="0"/>
              <a:t>includes cmdlets that mirror actions that can be completed by customers in the Microsoft 365 portal:</a:t>
            </a:r>
            <a:endParaRPr lang="nb-NO" dirty="0"/>
          </a:p>
          <a:p>
            <a:pPr lvl="1">
              <a:lnSpc>
                <a:spcPct val="110000"/>
              </a:lnSpc>
              <a:spcBef>
                <a:spcPts val="600"/>
              </a:spcBef>
            </a:pPr>
            <a:r>
              <a:rPr lang="en-AU" dirty="0"/>
              <a:t>Provides all the cmdlets that are required to configure Identity Federation On-Premises.</a:t>
            </a:r>
            <a:endParaRPr lang="nb-NO" dirty="0"/>
          </a:p>
          <a:p>
            <a:pPr lvl="1">
              <a:lnSpc>
                <a:spcPct val="110000"/>
              </a:lnSpc>
              <a:spcBef>
                <a:spcPts val="600"/>
              </a:spcBef>
            </a:pPr>
            <a:r>
              <a:rPr lang="en-US" dirty="0"/>
              <a:t>The Azure AD module is distributed using the PowerShell gallery. </a:t>
            </a:r>
            <a:endParaRPr lang="nb-NO" dirty="0"/>
          </a:p>
          <a:p>
            <a:pPr lvl="1">
              <a:lnSpc>
                <a:spcPct val="110000"/>
              </a:lnSpc>
              <a:spcBef>
                <a:spcPts val="600"/>
              </a:spcBef>
            </a:pPr>
            <a:r>
              <a:rPr lang="en-US" dirty="0"/>
              <a:t>Installing items from the Gallery requires the latest version of the </a:t>
            </a:r>
            <a:r>
              <a:rPr lang="en-US" dirty="0" err="1"/>
              <a:t>PowerShellGet</a:t>
            </a:r>
            <a:r>
              <a:rPr lang="en-US" dirty="0"/>
              <a:t> module, which is available in Windows 11, in Windows Management Framework (WMF) 5.0, or in the MSI-based installer (for PowerShell 3 and 4).</a:t>
            </a:r>
            <a:endParaRPr lang="nb-NO" dirty="0"/>
          </a:p>
          <a:p>
            <a:pPr lvl="1">
              <a:lnSpc>
                <a:spcPct val="110000"/>
              </a:lnSpc>
              <a:spcBef>
                <a:spcPts val="600"/>
              </a:spcBef>
            </a:pPr>
            <a:r>
              <a:rPr lang="en-AU" dirty="0"/>
              <a:t>Install using </a:t>
            </a:r>
            <a:r>
              <a:rPr lang="en-US" dirty="0"/>
              <a:t>Install-Module </a:t>
            </a:r>
            <a:r>
              <a:rPr lang="en-US" dirty="0" err="1"/>
              <a:t>AzureAD</a:t>
            </a:r>
            <a:r>
              <a:rPr lang="en-US" dirty="0"/>
              <a:t> </a:t>
            </a:r>
            <a:r>
              <a:rPr lang="nb-NO" dirty="0"/>
              <a:t>OR </a:t>
            </a:r>
            <a:r>
              <a:rPr lang="en-US" dirty="0"/>
              <a:t>Install-module </a:t>
            </a:r>
            <a:r>
              <a:rPr lang="en-US" dirty="0" err="1"/>
              <a:t>AzureADPreview</a:t>
            </a:r>
            <a:r>
              <a:rPr lang="en-US" dirty="0"/>
              <a:t> (Preview).</a:t>
            </a:r>
            <a:endParaRPr lang="nb-NO" dirty="0"/>
          </a:p>
          <a:p>
            <a:pPr lvl="1">
              <a:lnSpc>
                <a:spcPct val="110000"/>
              </a:lnSpc>
              <a:spcBef>
                <a:spcPts val="600"/>
              </a:spcBef>
            </a:pPr>
            <a:r>
              <a:rPr lang="en-AU" dirty="0"/>
              <a:t>Connect to Microsoft 365 by typing </a:t>
            </a:r>
            <a:r>
              <a:rPr lang="en-US" dirty="0"/>
              <a:t>Connect-</a:t>
            </a:r>
            <a:r>
              <a:rPr lang="en-US" dirty="0" err="1"/>
              <a:t>AzureAD</a:t>
            </a:r>
            <a:r>
              <a:rPr lang="en-AU" dirty="0"/>
              <a:t> and entering the credentials of a Microsoft 365 administrator in the dialog box.</a:t>
            </a:r>
            <a:endParaRPr lang="nb-NO" dirty="0"/>
          </a:p>
        </p:txBody>
      </p:sp>
    </p:spTree>
    <p:extLst>
      <p:ext uri="{BB962C8B-B14F-4D97-AF65-F5344CB8AC3E}">
        <p14:creationId xmlns:p14="http://schemas.microsoft.com/office/powerpoint/2010/main" val="742876747"/>
      </p:ext>
    </p:extLst>
  </p:cSld>
  <p:clrMapOvr>
    <a:masterClrMapping/>
  </p:clrMapOvr>
</p:sld>
</file>

<file path=ppt/slides/slide1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dirty="0"/>
              <a:t>Remote PowerShell for SharePoint Online </a:t>
            </a:r>
          </a:p>
        </p:txBody>
      </p:sp>
      <p:sp>
        <p:nvSpPr>
          <p:cNvPr id="5" name="Subtitle 4">
            <a:extLst>
              <a:ext uri="{FF2B5EF4-FFF2-40B4-BE49-F238E27FC236}">
                <a16:creationId xmlns:a16="http://schemas.microsoft.com/office/drawing/2014/main" id="{4B1462C5-E02E-4133-8152-BCF8D4C5DCC3}"/>
              </a:ext>
            </a:extLst>
          </p:cNvPr>
          <p:cNvSpPr>
            <a:spLocks noGrp="1"/>
          </p:cNvSpPr>
          <p:nvPr>
            <p:ph type="subTitle" idx="1"/>
          </p:nvPr>
        </p:nvSpPr>
        <p:spPr/>
        <p:txBody>
          <a:bodyPr/>
          <a:lstStyle/>
          <a:p>
            <a:endParaRPr lang="en-US"/>
          </a:p>
        </p:txBody>
      </p:sp>
      <p:sp>
        <p:nvSpPr>
          <p:cNvPr id="21" name="Content Placeholder 9">
            <a:extLst>
              <a:ext uri="{FF2B5EF4-FFF2-40B4-BE49-F238E27FC236}">
                <a16:creationId xmlns:a16="http://schemas.microsoft.com/office/drawing/2014/main" id="{3A82979B-299D-4F1A-A5E2-92273A826450}"/>
              </a:ext>
            </a:extLst>
          </p:cNvPr>
          <p:cNvSpPr>
            <a:spLocks noGrp="1"/>
          </p:cNvSpPr>
          <p:nvPr>
            <p:ph sz="quarter" idx="13"/>
          </p:nvPr>
        </p:nvSpPr>
        <p:spPr>
          <a:xfrm>
            <a:off x="655638" y="1408114"/>
            <a:ext cx="10880726" cy="4819650"/>
          </a:xfrm>
        </p:spPr>
        <p:txBody>
          <a:bodyPr>
            <a:normAutofit/>
          </a:bodyPr>
          <a:lstStyle/>
          <a:p>
            <a:pPr lvl="1"/>
            <a:r>
              <a:rPr lang="en-AU" dirty="0"/>
              <a:t>No need to install SharePoint Server management tools in order to use the SharePoint Online Management Shell</a:t>
            </a:r>
            <a:endParaRPr lang="nb-NO" dirty="0"/>
          </a:p>
          <a:p>
            <a:pPr lvl="1"/>
            <a:r>
              <a:rPr lang="en-AU" dirty="0"/>
              <a:t>To connect to SharePoint Online using the Management Shell, perform the following steps:</a:t>
            </a:r>
            <a:endParaRPr lang="nb-NO" dirty="0"/>
          </a:p>
          <a:p>
            <a:pPr lvl="2"/>
            <a:r>
              <a:rPr lang="en-AU" dirty="0"/>
              <a:t>Open the SharePoint Online Management Shell </a:t>
            </a:r>
            <a:endParaRPr lang="nb-NO" dirty="0"/>
          </a:p>
          <a:p>
            <a:pPr lvl="2"/>
            <a:r>
              <a:rPr lang="en-AU" dirty="0"/>
              <a:t>Create a new remote session to the SharePoint Online tenant with following cmdlet (Use your administrative account)</a:t>
            </a:r>
            <a:endParaRPr lang="nb-NO" dirty="0"/>
          </a:p>
          <a:p>
            <a:pPr lvl="3"/>
            <a:r>
              <a:rPr lang="en-US" dirty="0"/>
              <a:t>Connect-</a:t>
            </a:r>
            <a:r>
              <a:rPr lang="en-US" dirty="0" err="1"/>
              <a:t>SPOService</a:t>
            </a:r>
            <a:r>
              <a:rPr lang="en-US" dirty="0"/>
              <a:t> -</a:t>
            </a:r>
            <a:r>
              <a:rPr lang="en-US" dirty="0" err="1"/>
              <a:t>Url</a:t>
            </a:r>
            <a:r>
              <a:rPr lang="en-US" dirty="0"/>
              <a:t> https://&lt;tenantname&gt;-admin.sharepoint.com</a:t>
            </a:r>
            <a:endParaRPr lang="nb-NO" dirty="0"/>
          </a:p>
          <a:p>
            <a:endParaRPr lang="en-US" dirty="0"/>
          </a:p>
        </p:txBody>
      </p:sp>
    </p:spTree>
    <p:extLst>
      <p:ext uri="{BB962C8B-B14F-4D97-AF65-F5344CB8AC3E}">
        <p14:creationId xmlns:p14="http://schemas.microsoft.com/office/powerpoint/2010/main" val="360616660"/>
      </p:ext>
    </p:extLst>
  </p:cSld>
  <p:clrMapOvr>
    <a:masterClrMapping/>
  </p:clrMapOvr>
</p:sld>
</file>

<file path=ppt/slides/slide14.xml><?xml version="1.0" encoding="utf-8"?>
<p:sld xmlns:a16="http://schemas.microsoft.com/office/drawing/2014/main" xmlns:ahyp="http://schemas.microsoft.com/office/drawing/2018/hyperlinkcolor"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9924168-5AE2-417D-AC0E-C6465BD6FC9E}"/>
              </a:ext>
            </a:extLst>
          </p:cNvPr>
          <p:cNvSpPr/>
          <p:nvPr/>
        </p:nvSpPr>
        <p:spPr bwMode="auto">
          <a:xfrm>
            <a:off x="655638" y="845312"/>
            <a:ext cx="10880726" cy="588873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Windows PowerShell Endpoints</a:t>
            </a:r>
          </a:p>
        </p:txBody>
      </p:sp>
      <p:sp>
        <p:nvSpPr>
          <p:cNvPr id="67" name="Rectangle 66"/>
          <p:cNvSpPr>
            <a:spLocks noChangeArrowheads="1"/>
          </p:cNvSpPr>
          <p:nvPr/>
        </p:nvSpPr>
        <p:spPr bwMode="auto">
          <a:xfrm>
            <a:off x="1191275" y="2699301"/>
            <a:ext cx="2794899" cy="867502"/>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anchor="b"/>
          <a:lstStyle/>
          <a:p>
            <a:pPr algn="ctr" defTabSz="914377">
              <a:lnSpc>
                <a:spcPct val="80000"/>
              </a:lnSpc>
              <a:spcBef>
                <a:spcPct val="0"/>
              </a:spcBef>
              <a:defRPr/>
            </a:pPr>
            <a:r>
              <a:rPr lang="en-US" sz="1800" kern="0" dirty="0">
                <a:solidFill>
                  <a:schemeClr val="bg1"/>
                </a:solidFill>
                <a:latin typeface="Segoe UI Light"/>
              </a:rPr>
              <a:t>Microsoft 365 Admin Center</a:t>
            </a:r>
            <a:br>
              <a:rPr lang="en-US" sz="1800" kern="0" dirty="0">
                <a:solidFill>
                  <a:schemeClr val="bg1"/>
                </a:solidFill>
                <a:latin typeface="Segoe UI Light"/>
              </a:rPr>
            </a:br>
            <a:endParaRPr lang="en-US" sz="1133" kern="0" dirty="0">
              <a:solidFill>
                <a:schemeClr val="bg1"/>
              </a:solidFill>
              <a:latin typeface="Segoe UI Light"/>
            </a:endParaRPr>
          </a:p>
          <a:p>
            <a:pPr algn="ctr" defTabSz="914377">
              <a:lnSpc>
                <a:spcPct val="80000"/>
              </a:lnSpc>
              <a:spcBef>
                <a:spcPct val="0"/>
              </a:spcBef>
              <a:defRPr/>
            </a:pPr>
            <a:r>
              <a:rPr lang="en-US" sz="1600" kern="0" dirty="0">
                <a:solidFill>
                  <a:schemeClr val="bg1"/>
                </a:solidFill>
                <a:latin typeface="Segoe UI Light"/>
                <a:hlinkClick r:id="rId3">
                  <a:extLst>
                    <a:ext uri="{A12FA001-AC4F-418D-AE19-62706E023703}">
                      <ahyp:hlinkClr xmlns:ahyp="http://schemas.microsoft.com/office/drawing/2018/hyperlinkcolor" val="tx"/>
                    </a:ext>
                  </a:extLst>
                </a:hlinkClick>
              </a:rPr>
              <a:t>https://admin.microsoft.com</a:t>
            </a:r>
            <a:r>
              <a:rPr lang="en-US" sz="1600" kern="0" dirty="0">
                <a:solidFill>
                  <a:schemeClr val="bg1"/>
                </a:solidFill>
                <a:latin typeface="Segoe UI Light"/>
              </a:rPr>
              <a:t> </a:t>
            </a:r>
          </a:p>
        </p:txBody>
      </p:sp>
      <p:sp>
        <p:nvSpPr>
          <p:cNvPr id="70" name="Rectangle 69"/>
          <p:cNvSpPr>
            <a:spLocks noChangeArrowheads="1"/>
          </p:cNvSpPr>
          <p:nvPr/>
        </p:nvSpPr>
        <p:spPr bwMode="auto">
          <a:xfrm>
            <a:off x="7709862" y="1639532"/>
            <a:ext cx="2458209" cy="1285932"/>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anchor="b"/>
          <a:lstStyle/>
          <a:p>
            <a:pPr algn="ctr" defTabSz="914377">
              <a:lnSpc>
                <a:spcPct val="80000"/>
              </a:lnSpc>
              <a:spcBef>
                <a:spcPct val="0"/>
              </a:spcBef>
              <a:defRPr/>
            </a:pPr>
            <a:r>
              <a:rPr lang="en-US" sz="1800" kern="0" dirty="0">
                <a:solidFill>
                  <a:schemeClr val="bg1"/>
                </a:solidFill>
                <a:latin typeface="Segoe UI Light"/>
              </a:rPr>
              <a:t>SharePoint Online</a:t>
            </a:r>
          </a:p>
          <a:p>
            <a:pPr algn="ctr" defTabSz="914377">
              <a:lnSpc>
                <a:spcPct val="80000"/>
              </a:lnSpc>
              <a:spcBef>
                <a:spcPct val="0"/>
              </a:spcBef>
              <a:defRPr/>
            </a:pPr>
            <a:endParaRPr lang="en-US" sz="1800" kern="0" dirty="0">
              <a:solidFill>
                <a:schemeClr val="bg1"/>
              </a:solidFill>
              <a:latin typeface="Segoe UI Light"/>
            </a:endParaRPr>
          </a:p>
          <a:p>
            <a:pPr algn="ctr"/>
            <a:r>
              <a:rPr lang="en-US" sz="1600" dirty="0">
                <a:solidFill>
                  <a:schemeClr val="bg1"/>
                </a:solidFill>
                <a:latin typeface="Segoe UI Light" panose="020B0502040204020203" pitchFamily="34" charset="0"/>
                <a:cs typeface="Segoe UI Light" panose="020B0502040204020203" pitchFamily="34" charset="0"/>
              </a:rPr>
              <a:t>SharePoint Administration Center</a:t>
            </a:r>
          </a:p>
          <a:p>
            <a:pPr algn="ctr"/>
            <a:r>
              <a:rPr lang="en-US" sz="1133" dirty="0">
                <a:solidFill>
                  <a:schemeClr val="bg1"/>
                </a:solidFill>
                <a:latin typeface="Segoe UI Light" panose="020B0502040204020203" pitchFamily="34" charset="0"/>
                <a:cs typeface="Segoe UI Light" panose="020B0502040204020203" pitchFamily="34" charset="0"/>
                <a:hlinkClick r:id="rId4">
                  <a:extLst>
                    <a:ext uri="{A12FA001-AC4F-418D-AE19-62706E023703}">
                      <ahyp:hlinkClr xmlns:ahyp="http://schemas.microsoft.com/office/drawing/2018/hyperlinkcolor" val="tx"/>
                    </a:ext>
                  </a:extLst>
                </a:hlinkClick>
              </a:rPr>
              <a:t>https://tenant-admin.sharepoint.com</a:t>
            </a:r>
            <a:r>
              <a:rPr lang="en-US" sz="1133" dirty="0">
                <a:solidFill>
                  <a:schemeClr val="bg1"/>
                </a:solidFill>
                <a:latin typeface="Segoe UI Light" panose="020B0502040204020203" pitchFamily="34" charset="0"/>
                <a:cs typeface="Segoe UI Light" panose="020B0502040204020203" pitchFamily="34" charset="0"/>
              </a:rPr>
              <a:t> </a:t>
            </a:r>
            <a:endParaRPr lang="en-US" sz="1133" kern="0" dirty="0">
              <a:solidFill>
                <a:schemeClr val="bg1"/>
              </a:solidFill>
              <a:latin typeface="Segoe UI Light" panose="020B0502040204020203" pitchFamily="34" charset="0"/>
              <a:cs typeface="Segoe UI Light" panose="020B0502040204020203" pitchFamily="34" charset="0"/>
            </a:endParaRPr>
          </a:p>
        </p:txBody>
      </p:sp>
      <p:sp>
        <p:nvSpPr>
          <p:cNvPr id="71" name="Rectangle 70"/>
          <p:cNvSpPr>
            <a:spLocks noChangeArrowheads="1"/>
          </p:cNvSpPr>
          <p:nvPr/>
        </p:nvSpPr>
        <p:spPr bwMode="auto">
          <a:xfrm>
            <a:off x="1191274" y="2033459"/>
            <a:ext cx="2794899" cy="36004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anchor="b"/>
          <a:lstStyle/>
          <a:p>
            <a:pPr algn="ctr" defTabSz="914377">
              <a:lnSpc>
                <a:spcPct val="80000"/>
              </a:lnSpc>
              <a:spcBef>
                <a:spcPct val="0"/>
              </a:spcBef>
              <a:defRPr/>
            </a:pPr>
            <a:r>
              <a:rPr lang="en-US" sz="1800" kern="0" dirty="0">
                <a:solidFill>
                  <a:schemeClr val="bg1"/>
                </a:solidFill>
                <a:latin typeface="Segoe UI Light"/>
              </a:rPr>
              <a:t>Online Services Licensing</a:t>
            </a:r>
          </a:p>
        </p:txBody>
      </p:sp>
      <p:sp>
        <p:nvSpPr>
          <p:cNvPr id="74" name="Rectangle 73"/>
          <p:cNvSpPr>
            <a:spLocks noChangeArrowheads="1"/>
          </p:cNvSpPr>
          <p:nvPr/>
        </p:nvSpPr>
        <p:spPr bwMode="auto">
          <a:xfrm>
            <a:off x="1194019" y="3898394"/>
            <a:ext cx="2798052" cy="155544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anchor="b"/>
          <a:lstStyle/>
          <a:p>
            <a:pPr algn="ctr" defTabSz="914377">
              <a:lnSpc>
                <a:spcPct val="80000"/>
              </a:lnSpc>
              <a:spcBef>
                <a:spcPct val="0"/>
              </a:spcBef>
              <a:defRPr/>
            </a:pPr>
            <a:r>
              <a:rPr lang="en-US" sz="1800" kern="0" dirty="0">
                <a:solidFill>
                  <a:schemeClr val="bg1"/>
                </a:solidFill>
                <a:latin typeface="Segoe UI Light"/>
              </a:rPr>
              <a:t>Azure Active Directory</a:t>
            </a:r>
            <a:br>
              <a:rPr lang="en-US" sz="1800" kern="0" dirty="0">
                <a:solidFill>
                  <a:schemeClr val="bg1"/>
                </a:solidFill>
                <a:latin typeface="Segoe UI Light"/>
              </a:rPr>
            </a:br>
            <a:endParaRPr lang="en-US" sz="1800" kern="0" dirty="0">
              <a:solidFill>
                <a:schemeClr val="bg1"/>
              </a:solidFill>
              <a:latin typeface="Segoe UI Light"/>
            </a:endParaRPr>
          </a:p>
          <a:p>
            <a:pPr algn="ctr" defTabSz="914377">
              <a:lnSpc>
                <a:spcPct val="80000"/>
              </a:lnSpc>
              <a:spcBef>
                <a:spcPct val="0"/>
              </a:spcBef>
              <a:defRPr/>
            </a:pPr>
            <a:r>
              <a:rPr lang="en-US" sz="1600" kern="0" dirty="0">
                <a:solidFill>
                  <a:schemeClr val="bg1"/>
                </a:solidFill>
                <a:latin typeface="Segoe UI Light"/>
                <a:hlinkClick r:id="rId5">
                  <a:extLst>
                    <a:ext uri="{A12FA001-AC4F-418D-AE19-62706E023703}">
                      <ahyp:hlinkClr xmlns:ahyp="http://schemas.microsoft.com/office/drawing/2018/hyperlinkcolor" val="tx"/>
                    </a:ext>
                  </a:extLst>
                </a:hlinkClick>
              </a:rPr>
              <a:t>https://portal.azure.com</a:t>
            </a:r>
            <a:r>
              <a:rPr lang="en-US" sz="1600" kern="0" dirty="0">
                <a:solidFill>
                  <a:schemeClr val="bg1"/>
                </a:solidFill>
                <a:latin typeface="Segoe UI Light"/>
              </a:rPr>
              <a:t> </a:t>
            </a:r>
          </a:p>
          <a:p>
            <a:pPr algn="ctr" defTabSz="914377">
              <a:lnSpc>
                <a:spcPct val="80000"/>
              </a:lnSpc>
              <a:spcBef>
                <a:spcPct val="0"/>
              </a:spcBef>
              <a:defRPr/>
            </a:pPr>
            <a:endParaRPr lang="en-US" sz="1800" kern="0" dirty="0">
              <a:solidFill>
                <a:schemeClr val="bg1"/>
              </a:solidFill>
              <a:latin typeface="Segoe UI Light"/>
            </a:endParaRPr>
          </a:p>
        </p:txBody>
      </p:sp>
      <p:sp>
        <p:nvSpPr>
          <p:cNvPr id="75" name="Rectangle 74"/>
          <p:cNvSpPr>
            <a:spLocks noChangeArrowheads="1"/>
          </p:cNvSpPr>
          <p:nvPr/>
        </p:nvSpPr>
        <p:spPr bwMode="auto">
          <a:xfrm>
            <a:off x="8161765" y="4946953"/>
            <a:ext cx="1512168" cy="1555448"/>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anchor="b"/>
          <a:lstStyle/>
          <a:p>
            <a:pPr defTabSz="914377">
              <a:lnSpc>
                <a:spcPct val="80000"/>
              </a:lnSpc>
              <a:spcBef>
                <a:spcPct val="0"/>
              </a:spcBef>
              <a:defRPr/>
            </a:pPr>
            <a:r>
              <a:rPr lang="en-US" sz="1800" kern="0" dirty="0">
                <a:latin typeface="Segoe UI Light"/>
              </a:rPr>
              <a:t>On-Premises</a:t>
            </a:r>
          </a:p>
        </p:txBody>
      </p:sp>
      <p:cxnSp>
        <p:nvCxnSpPr>
          <p:cNvPr id="76" name="Elbow Connector 75"/>
          <p:cNvCxnSpPr/>
          <p:nvPr/>
        </p:nvCxnSpPr>
        <p:spPr>
          <a:xfrm rot="16200000" flipV="1">
            <a:off x="8383863" y="3615376"/>
            <a:ext cx="1223290" cy="8665"/>
          </a:xfrm>
          <a:prstGeom prst="bentConnector3">
            <a:avLst/>
          </a:prstGeom>
          <a:noFill/>
          <a:ln w="38100" cap="flat" cmpd="sng" algn="ctr">
            <a:solidFill>
              <a:srgbClr val="00AEEF">
                <a:shade val="95000"/>
                <a:satMod val="105000"/>
              </a:srgbClr>
            </a:solidFill>
            <a:prstDash val="solid"/>
            <a:headEnd type="triangle" w="med" len="med"/>
            <a:tailEnd type="triangle" w="med" len="med"/>
          </a:ln>
          <a:effectLst/>
        </p:spPr>
      </p:cxnSp>
      <p:cxnSp>
        <p:nvCxnSpPr>
          <p:cNvPr id="82" name="Straight Arrow Connector 81"/>
          <p:cNvCxnSpPr>
            <a:cxnSpLocks/>
            <a:stCxn id="74" idx="0"/>
          </p:cNvCxnSpPr>
          <p:nvPr/>
        </p:nvCxnSpPr>
        <p:spPr>
          <a:xfrm flipH="1" flipV="1">
            <a:off x="2588725" y="3566804"/>
            <a:ext cx="4320" cy="331590"/>
          </a:xfrm>
          <a:prstGeom prst="straightConnector1">
            <a:avLst/>
          </a:prstGeom>
          <a:noFill/>
          <a:ln w="38100" cap="flat" cmpd="sng" algn="ctr">
            <a:solidFill>
              <a:srgbClr val="00AEEF">
                <a:shade val="95000"/>
                <a:satMod val="105000"/>
              </a:srgbClr>
            </a:solidFill>
            <a:prstDash val="solid"/>
            <a:tailEnd type="triangle"/>
          </a:ln>
          <a:effectLst/>
        </p:spPr>
      </p:cxnSp>
      <p:cxnSp>
        <p:nvCxnSpPr>
          <p:cNvPr id="83" name="Straight Arrow Connector 82"/>
          <p:cNvCxnSpPr>
            <a:cxnSpLocks/>
            <a:stCxn id="67" idx="0"/>
            <a:endCxn id="71" idx="2"/>
          </p:cNvCxnSpPr>
          <p:nvPr/>
        </p:nvCxnSpPr>
        <p:spPr>
          <a:xfrm flipH="1" flipV="1">
            <a:off x="2588724" y="2393499"/>
            <a:ext cx="1" cy="305802"/>
          </a:xfrm>
          <a:prstGeom prst="straightConnector1">
            <a:avLst/>
          </a:prstGeom>
          <a:noFill/>
          <a:ln w="38100" cap="flat" cmpd="sng" algn="ctr">
            <a:solidFill>
              <a:srgbClr val="00AEEF">
                <a:shade val="95000"/>
                <a:satMod val="105000"/>
              </a:srgbClr>
            </a:solidFill>
            <a:prstDash val="solid"/>
            <a:tailEnd type="triangle"/>
          </a:ln>
          <a:effectLst/>
        </p:spPr>
      </p:cxnSp>
      <p:sp>
        <p:nvSpPr>
          <p:cNvPr id="89" name="TextBox 88"/>
          <p:cNvSpPr txBox="1"/>
          <p:nvPr/>
        </p:nvSpPr>
        <p:spPr>
          <a:xfrm>
            <a:off x="3105209" y="6002891"/>
            <a:ext cx="3978012" cy="246221"/>
          </a:xfrm>
          <a:prstGeom prst="rect">
            <a:avLst/>
          </a:prstGeom>
          <a:noFill/>
        </p:spPr>
        <p:txBody>
          <a:bodyPr wrap="none" lIns="0" tIns="0" rIns="0" bIns="0" rtlCol="0">
            <a:spAutoFit/>
          </a:bodyPr>
          <a:lstStyle/>
          <a:p>
            <a:pPr defTabSz="914377"/>
            <a:r>
              <a:rPr lang="en-US" sz="1600" dirty="0">
                <a:solidFill>
                  <a:schemeClr val="bg1"/>
                </a:solidFill>
                <a:latin typeface="Segoe UI" pitchFamily="34" charset="0"/>
                <a:cs typeface="Segoe UI" pitchFamily="34" charset="0"/>
              </a:rPr>
              <a:t>Azure Active Directory PowerShell for Graph</a:t>
            </a:r>
            <a:endParaRPr lang="en-AU" sz="1600" dirty="0">
              <a:solidFill>
                <a:schemeClr val="bg1"/>
              </a:solidFill>
              <a:latin typeface="Segoe UI Light" pitchFamily="34" charset="0"/>
            </a:endParaRPr>
          </a:p>
        </p:txBody>
      </p:sp>
      <p:sp>
        <p:nvSpPr>
          <p:cNvPr id="90" name="TextBox 89"/>
          <p:cNvSpPr txBox="1"/>
          <p:nvPr/>
        </p:nvSpPr>
        <p:spPr>
          <a:xfrm>
            <a:off x="7162800" y="4387813"/>
            <a:ext cx="5316064" cy="246221"/>
          </a:xfrm>
          <a:prstGeom prst="rect">
            <a:avLst/>
          </a:prstGeom>
          <a:noFill/>
        </p:spPr>
        <p:txBody>
          <a:bodyPr wrap="square" lIns="0" tIns="0" rIns="0" bIns="0" rtlCol="0">
            <a:spAutoFit/>
          </a:bodyPr>
          <a:lstStyle/>
          <a:p>
            <a:pPr defTabSz="914377"/>
            <a:r>
              <a:rPr lang="en-US" sz="1600" dirty="0">
                <a:solidFill>
                  <a:schemeClr val="bg1"/>
                </a:solidFill>
                <a:latin typeface="Segoe UI Light" pitchFamily="34" charset="0"/>
              </a:rPr>
              <a:t>Remote PowerShell for SharePoint Online</a:t>
            </a:r>
            <a:endParaRPr lang="en-AU" sz="1600" dirty="0">
              <a:solidFill>
                <a:schemeClr val="bg1"/>
              </a:solidFill>
              <a:latin typeface="Segoe UI Light" pitchFamily="34" charset="0"/>
            </a:endParaRPr>
          </a:p>
        </p:txBody>
      </p:sp>
      <p:grpSp>
        <p:nvGrpSpPr>
          <p:cNvPr id="93" name="Group 92"/>
          <p:cNvGrpSpPr/>
          <p:nvPr/>
        </p:nvGrpSpPr>
        <p:grpSpPr>
          <a:xfrm>
            <a:off x="8427369" y="5254034"/>
            <a:ext cx="1127612" cy="698744"/>
            <a:chOff x="899592" y="4487945"/>
            <a:chExt cx="2055314" cy="1273610"/>
          </a:xfrm>
        </p:grpSpPr>
        <p:pic>
          <p:nvPicPr>
            <p:cNvPr id="94" name="Picture 93" descr="D:\Profile Folders\Documents\Work\IT ClipArt\Sorted\Computers and IT Devices\Computer Server 2.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99592" y="4487946"/>
              <a:ext cx="930715" cy="1273609"/>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4" descr="D:\Profile Folders\Documents\Work\IT ClipArt\Sorted\Computers and IT Devices\Computer Server 2.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460112" y="4487945"/>
              <a:ext cx="930715" cy="1273609"/>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4" descr="D:\Profile Folders\Documents\Work\IT ClipArt\Sorted\Computers and IT Devices\Computer Server 2.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24191" y="4487946"/>
              <a:ext cx="930715" cy="1273609"/>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5" name="Straight Arrow Connector 14"/>
          <p:cNvCxnSpPr/>
          <p:nvPr/>
        </p:nvCxnSpPr>
        <p:spPr>
          <a:xfrm flipH="1">
            <a:off x="2438400" y="6400800"/>
            <a:ext cx="5562600" cy="0"/>
          </a:xfrm>
          <a:prstGeom prst="straightConnector1">
            <a:avLst/>
          </a:prstGeom>
          <a:ln w="9525" cap="flat" cmpd="sng" algn="ctr">
            <a:solidFill>
              <a:schemeClr val="accent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17" name="Straight Arrow Connector 16"/>
          <p:cNvCxnSpPr/>
          <p:nvPr/>
        </p:nvCxnSpPr>
        <p:spPr>
          <a:xfrm flipV="1">
            <a:off x="2438400" y="5504757"/>
            <a:ext cx="0" cy="896043"/>
          </a:xfrm>
          <a:prstGeom prst="straightConnector1">
            <a:avLst/>
          </a:prstGeom>
          <a:ln w="952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268477066"/>
      </p:ext>
    </p:extLst>
  </p:cSld>
  <p:clrMapOvr>
    <a:masterClrMapping/>
  </p:clrMapOvr>
</p:sld>
</file>

<file path=ppt/slides/slide15.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a:t>Example: Assigning </a:t>
            </a:r>
            <a:r>
              <a:rPr lang="en-US" dirty="0"/>
              <a:t>Licenses</a:t>
            </a:r>
          </a:p>
        </p:txBody>
      </p:sp>
      <p:graphicFrame>
        <p:nvGraphicFramePr>
          <p:cNvPr id="12" name="Content Placeholder 11">
            <a:extLst>
              <a:ext uri="{FF2B5EF4-FFF2-40B4-BE49-F238E27FC236}">
                <a16:creationId xmlns:a16="http://schemas.microsoft.com/office/drawing/2014/main" id="{C17EADAF-BF38-42ED-8392-5938B5A3236D}"/>
              </a:ext>
            </a:extLst>
          </p:cNvPr>
          <p:cNvGraphicFramePr>
            <a:graphicFrameLocks noGrp="1"/>
          </p:cNvGraphicFramePr>
          <p:nvPr>
            <p:ph sz="quarter" idx="13"/>
            <p:extLst>
              <p:ext uri="{D42A27DB-BD31-4B8C-83A1-F6EECF244321}">
                <p14:modId xmlns:p14="http://schemas.microsoft.com/office/powerpoint/2010/main" val="3236998189"/>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24437313"/>
      </p:ext>
    </p:extLst>
  </p:cSld>
  <p:clrMapOvr>
    <a:masterClrMapping/>
  </p:clrMapOvr>
</p:sld>
</file>

<file path=ppt/slides/slide16.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2979777"/>
            <a:ext cx="9015411" cy="604798"/>
          </a:xfrm>
        </p:spPr>
        <p:txBody>
          <a:bodyPr/>
          <a:lstStyle/>
          <a:p>
            <a:r>
              <a:rPr lang="en-US" dirty="0"/>
              <a:t>Understanding Microsoft 365 Domains</a:t>
            </a:r>
            <a:endParaRPr lang="nb-NO" dirty="0"/>
          </a:p>
        </p:txBody>
      </p:sp>
    </p:spTree>
    <p:extLst>
      <p:ext uri="{BB962C8B-B14F-4D97-AF65-F5344CB8AC3E}">
        <p14:creationId xmlns:p14="http://schemas.microsoft.com/office/powerpoint/2010/main" val="1080495204"/>
      </p:ext>
    </p:extLst>
  </p:cSld>
  <p:clrMapOvr>
    <a:masterClrMapping/>
  </p:clrMapOvr>
</p:sld>
</file>

<file path=ppt/slides/slide17.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wrap="square" anchor="t">
            <a:normAutofit/>
          </a:bodyPr>
          <a:lstStyle/>
          <a:p>
            <a:r>
              <a:rPr lang="en-US" dirty="0"/>
              <a:t>The Microsoft Online Default Routing Domain</a:t>
            </a:r>
            <a:endParaRPr lang="pt-BR" dirty="0"/>
          </a:p>
        </p:txBody>
      </p:sp>
      <p:sp>
        <p:nvSpPr>
          <p:cNvPr id="14" name="Subtitle 2">
            <a:extLst>
              <a:ext uri="{FF2B5EF4-FFF2-40B4-BE49-F238E27FC236}">
                <a16:creationId xmlns:a16="http://schemas.microsoft.com/office/drawing/2014/main" id="{4275587F-88F5-476E-8134-64D172EFEB5E}"/>
              </a:ext>
            </a:extLst>
          </p:cNvPr>
          <p:cNvSpPr>
            <a:spLocks noGrp="1"/>
          </p:cNvSpPr>
          <p:nvPr>
            <p:ph type="subTitle" idx="1"/>
          </p:nvPr>
        </p:nvSpPr>
        <p:spPr/>
        <p:txBody>
          <a:bodyPr/>
          <a:lstStyle/>
          <a:p>
            <a:endParaRPr lang="en-US"/>
          </a:p>
        </p:txBody>
      </p:sp>
      <p:graphicFrame>
        <p:nvGraphicFramePr>
          <p:cNvPr id="13" name="Content Placeholder 7">
            <a:extLst>
              <a:ext uri="{FF2B5EF4-FFF2-40B4-BE49-F238E27FC236}">
                <a16:creationId xmlns:a16="http://schemas.microsoft.com/office/drawing/2014/main" id="{9255F09D-2959-44BF-92AA-1C9B3AF32771}"/>
              </a:ext>
            </a:extLst>
          </p:cNvPr>
          <p:cNvGraphicFramePr>
            <a:graphicFrameLocks noGrp="1"/>
          </p:cNvGraphicFramePr>
          <p:nvPr>
            <p:ph sz="quarter" idx="13"/>
            <p:extLst>
              <p:ext uri="{D42A27DB-BD31-4B8C-83A1-F6EECF244321}">
                <p14:modId xmlns:p14="http://schemas.microsoft.com/office/powerpoint/2010/main" val="3507456187"/>
              </p:ext>
            </p:extLst>
          </p:nvPr>
        </p:nvGraphicFramePr>
        <p:xfrm>
          <a:off x="1335691" y="1607249"/>
          <a:ext cx="9520618" cy="42171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6AB23939-9A7B-E64D-4FE4-F08FAB4C51E1}"/>
              </a:ext>
            </a:extLst>
          </p:cNvPr>
          <p:cNvSpPr txBox="1"/>
          <p:nvPr/>
        </p:nvSpPr>
        <p:spPr>
          <a:xfrm>
            <a:off x="306143" y="6320236"/>
            <a:ext cx="11730100" cy="161583"/>
          </a:xfrm>
          <a:prstGeom prst="rect">
            <a:avLst/>
          </a:prstGeom>
          <a:noFill/>
        </p:spPr>
        <p:txBody>
          <a:bodyPr wrap="square" lIns="0" tIns="0" rIns="0" bIns="0" rtlCol="0">
            <a:spAutoFit/>
          </a:bodyPr>
          <a:lstStyle/>
          <a:p>
            <a:pPr algn="l"/>
            <a:r>
              <a:rPr lang="en-US" sz="1050" dirty="0">
                <a:gradFill>
                  <a:gsLst>
                    <a:gs pos="2917">
                      <a:schemeClr val="tx1"/>
                    </a:gs>
                    <a:gs pos="30000">
                      <a:schemeClr val="tx1"/>
                    </a:gs>
                  </a:gsLst>
                  <a:lin ang="5400000" scaled="0"/>
                </a:gradFill>
              </a:rPr>
              <a:t>*Still in preview. There is an option to change SharePoint domain name https://docs.microsoft.com/en-us/sharepoint/change-your-sharepoint-domain-name</a:t>
            </a:r>
          </a:p>
        </p:txBody>
      </p:sp>
    </p:spTree>
    <p:extLst>
      <p:ext uri="{BB962C8B-B14F-4D97-AF65-F5344CB8AC3E}">
        <p14:creationId xmlns:p14="http://schemas.microsoft.com/office/powerpoint/2010/main" val="1342483806"/>
      </p:ext>
    </p:extLst>
  </p:cSld>
  <p:clrMapOvr>
    <a:masterClrMapping/>
  </p:clrMapOvr>
</p:sld>
</file>

<file path=ppt/slides/slide19.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Your Own Domain in Microsoft 365</a:t>
            </a:r>
            <a:endParaRPr lang="pt-BR" dirty="0"/>
          </a:p>
        </p:txBody>
      </p:sp>
      <p:graphicFrame>
        <p:nvGraphicFramePr>
          <p:cNvPr id="13" name="Content Placeholder 12">
            <a:extLst>
              <a:ext uri="{FF2B5EF4-FFF2-40B4-BE49-F238E27FC236}">
                <a16:creationId xmlns:a16="http://schemas.microsoft.com/office/drawing/2014/main" id="{02B7A466-BBC7-4F2D-8535-8CDFEC5A57E6}"/>
              </a:ext>
            </a:extLst>
          </p:cNvPr>
          <p:cNvGraphicFramePr>
            <a:graphicFrameLocks noGrp="1"/>
          </p:cNvGraphicFramePr>
          <p:nvPr>
            <p:ph sz="quarter" idx="13"/>
            <p:extLst>
              <p:ext uri="{D42A27DB-BD31-4B8C-83A1-F6EECF244321}">
                <p14:modId xmlns:p14="http://schemas.microsoft.com/office/powerpoint/2010/main" val="1235330235"/>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43754683"/>
      </p:ext>
    </p:extLst>
  </p:cSld>
  <p:clrMapOvr>
    <a:masterClrMapping/>
  </p:clrMapOvr>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6284028"/>
      </p:ext>
    </p:extLst>
  </p:cSld>
  <p:clrMapOvr>
    <a:masterClrMapping/>
  </p:clrMapOvr>
  <p:transition>
    <p:fade/>
  </p:transition>
</p:sld>
</file>

<file path=ppt/slides/slide20.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dirty="0"/>
              <a:t>Before Adding Your Domain to Microsoft 365</a:t>
            </a:r>
            <a:endParaRPr lang="pt-BR" dirty="0"/>
          </a:p>
        </p:txBody>
      </p:sp>
      <p:graphicFrame>
        <p:nvGraphicFramePr>
          <p:cNvPr id="8" name="Content Placeholder 3">
            <a:extLst>
              <a:ext uri="{FF2B5EF4-FFF2-40B4-BE49-F238E27FC236}">
                <a16:creationId xmlns:a16="http://schemas.microsoft.com/office/drawing/2014/main" id="{FCC9A148-E49B-4442-A3D7-A2E2EA06A651}"/>
              </a:ext>
            </a:extLst>
          </p:cNvPr>
          <p:cNvGraphicFramePr>
            <a:graphicFrameLocks noGrp="1"/>
          </p:cNvGraphicFramePr>
          <p:nvPr>
            <p:ph sz="quarter" idx="13"/>
            <p:extLst>
              <p:ext uri="{D42A27DB-BD31-4B8C-83A1-F6EECF244321}">
                <p14:modId xmlns:p14="http://schemas.microsoft.com/office/powerpoint/2010/main" val="2561462441"/>
              </p:ext>
            </p:extLst>
          </p:nvPr>
        </p:nvGraphicFramePr>
        <p:xfrm>
          <a:off x="655638" y="1372183"/>
          <a:ext cx="10880725" cy="28347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00043665"/>
      </p:ext>
    </p:extLst>
  </p:cSld>
  <p:clrMapOvr>
    <a:masterClrMapping/>
  </p:clrMapOvr>
</p:sld>
</file>

<file path=ppt/slides/slide21.xml><?xml version="1.0" encoding="utf-8"?>
<p:sld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1878305526"/>
              </p:ext>
            </p:extLst>
          </p:nvPr>
        </p:nvGraphicFramePr>
        <p:xfrm>
          <a:off x="655638" y="887984"/>
          <a:ext cx="10880725" cy="5736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p:txBody>
          <a:bodyPr/>
          <a:lstStyle/>
          <a:p>
            <a:r>
              <a:rPr lang="nb-NO" dirty="0"/>
              <a:t>Knowledge Check</a:t>
            </a:r>
          </a:p>
        </p:txBody>
      </p:sp>
    </p:spTree>
    <p:extLst>
      <p:ext uri="{BB962C8B-B14F-4D97-AF65-F5344CB8AC3E}">
        <p14:creationId xmlns:p14="http://schemas.microsoft.com/office/powerpoint/2010/main" val="2372855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graphicEl>
                                              <a:dgm id="{6B258DE7-67F3-47A6-820F-1B85C658002A}"/>
                                            </p:graphicEl>
                                          </p:spTgt>
                                        </p:tgtEl>
                                        <p:attrNameLst>
                                          <p:attrName>style.visibility</p:attrName>
                                        </p:attrNameLst>
                                      </p:cBhvr>
                                      <p:to>
                                        <p:strVal val="visible"/>
                                      </p:to>
                                    </p:set>
                                    <p:anim calcmode="lin" valueType="num">
                                      <p:cBhvr additive="base">
                                        <p:cTn id="7" dur="500" fill="hold"/>
                                        <p:tgtEl>
                                          <p:spTgt spid="4">
                                            <p:graphicEl>
                                              <a:dgm id="{6B258DE7-67F3-47A6-820F-1B85C658002A}"/>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graphicEl>
                                              <a:dgm id="{6B258DE7-67F3-47A6-820F-1B85C658002A}"/>
                                            </p:graphic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4">
                                            <p:graphicEl>
                                              <a:dgm id="{03DAAD93-5684-4201-95B9-5C5C2F41C230}"/>
                                            </p:graphicEl>
                                          </p:spTgt>
                                        </p:tgtEl>
                                        <p:attrNameLst>
                                          <p:attrName>style.visibility</p:attrName>
                                        </p:attrNameLst>
                                      </p:cBhvr>
                                      <p:to>
                                        <p:strVal val="visible"/>
                                      </p:to>
                                    </p:set>
                                    <p:anim calcmode="lin" valueType="num">
                                      <p:cBhvr additive="base">
                                        <p:cTn id="13" dur="500" fill="hold"/>
                                        <p:tgtEl>
                                          <p:spTgt spid="4">
                                            <p:graphicEl>
                                              <a:dgm id="{03DAAD93-5684-4201-95B9-5C5C2F41C230}"/>
                                            </p:graphic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graphicEl>
                                              <a:dgm id="{03DAAD93-5684-4201-95B9-5C5C2F41C230}"/>
                                            </p:graphic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
                                            <p:graphicEl>
                                              <a:dgm id="{659DA338-078B-4DFB-8FF7-743B9AD5AAB3}"/>
                                            </p:graphicEl>
                                          </p:spTgt>
                                        </p:tgtEl>
                                        <p:attrNameLst>
                                          <p:attrName>style.visibility</p:attrName>
                                        </p:attrNameLst>
                                      </p:cBhvr>
                                      <p:to>
                                        <p:strVal val="visible"/>
                                      </p:to>
                                    </p:set>
                                    <p:anim calcmode="lin" valueType="num">
                                      <p:cBhvr additive="base">
                                        <p:cTn id="19" dur="500" fill="hold"/>
                                        <p:tgtEl>
                                          <p:spTgt spid="4">
                                            <p:graphicEl>
                                              <a:dgm id="{659DA338-078B-4DFB-8FF7-743B9AD5AAB3}"/>
                                            </p:graphicEl>
                                          </p:spTgt>
                                        </p:tgtEl>
                                        <p:attrNameLst>
                                          <p:attrName>ppt_x</p:attrName>
                                        </p:attrNameLst>
                                      </p:cBhvr>
                                      <p:tavLst>
                                        <p:tav tm="0">
                                          <p:val>
                                            <p:strVal val="#ppt_x"/>
                                          </p:val>
                                        </p:tav>
                                        <p:tav tm="100000">
                                          <p:val>
                                            <p:strVal val="#ppt_x"/>
                                          </p:val>
                                        </p:tav>
                                      </p:tavLst>
                                    </p:anim>
                                    <p:anim calcmode="lin" valueType="num">
                                      <p:cBhvr additive="base">
                                        <p:cTn id="20" dur="500" fill="hold"/>
                                        <p:tgtEl>
                                          <p:spTgt spid="4">
                                            <p:graphicEl>
                                              <a:dgm id="{659DA338-078B-4DFB-8FF7-743B9AD5AAB3}"/>
                                            </p:graphic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4">
                                            <p:graphicEl>
                                              <a:dgm id="{B7C4E1B0-550B-4736-8581-0C332496A81D}"/>
                                            </p:graphicEl>
                                          </p:spTgt>
                                        </p:tgtEl>
                                        <p:attrNameLst>
                                          <p:attrName>style.visibility</p:attrName>
                                        </p:attrNameLst>
                                      </p:cBhvr>
                                      <p:to>
                                        <p:strVal val="visible"/>
                                      </p:to>
                                    </p:set>
                                    <p:anim calcmode="lin" valueType="num">
                                      <p:cBhvr additive="base">
                                        <p:cTn id="25" dur="500" fill="hold"/>
                                        <p:tgtEl>
                                          <p:spTgt spid="4">
                                            <p:graphicEl>
                                              <a:dgm id="{B7C4E1B0-550B-4736-8581-0C332496A81D}"/>
                                            </p:graphicEl>
                                          </p:spTgt>
                                        </p:tgtEl>
                                        <p:attrNameLst>
                                          <p:attrName>ppt_x</p:attrName>
                                        </p:attrNameLst>
                                      </p:cBhvr>
                                      <p:tavLst>
                                        <p:tav tm="0">
                                          <p:val>
                                            <p:strVal val="#ppt_x"/>
                                          </p:val>
                                        </p:tav>
                                        <p:tav tm="100000">
                                          <p:val>
                                            <p:strVal val="#ppt_x"/>
                                          </p:val>
                                        </p:tav>
                                      </p:tavLst>
                                    </p:anim>
                                    <p:anim calcmode="lin" valueType="num">
                                      <p:cBhvr additive="base">
                                        <p:cTn id="26" dur="500" fill="hold"/>
                                        <p:tgtEl>
                                          <p:spTgt spid="4">
                                            <p:graphicEl>
                                              <a:dgm id="{B7C4E1B0-550B-4736-8581-0C332496A81D}"/>
                                            </p:graphic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4">
                                            <p:graphicEl>
                                              <a:dgm id="{697004BA-36C2-42E0-9D43-3931F0BC4234}"/>
                                            </p:graphicEl>
                                          </p:spTgt>
                                        </p:tgtEl>
                                        <p:attrNameLst>
                                          <p:attrName>style.visibility</p:attrName>
                                        </p:attrNameLst>
                                      </p:cBhvr>
                                      <p:to>
                                        <p:strVal val="visible"/>
                                      </p:to>
                                    </p:set>
                                    <p:anim calcmode="lin" valueType="num">
                                      <p:cBhvr additive="base">
                                        <p:cTn id="31" dur="500" fill="hold"/>
                                        <p:tgtEl>
                                          <p:spTgt spid="4">
                                            <p:graphicEl>
                                              <a:dgm id="{697004BA-36C2-42E0-9D43-3931F0BC4234}"/>
                                            </p:graphicEl>
                                          </p:spTgt>
                                        </p:tgtEl>
                                        <p:attrNameLst>
                                          <p:attrName>ppt_x</p:attrName>
                                        </p:attrNameLst>
                                      </p:cBhvr>
                                      <p:tavLst>
                                        <p:tav tm="0">
                                          <p:val>
                                            <p:strVal val="#ppt_x"/>
                                          </p:val>
                                        </p:tav>
                                        <p:tav tm="100000">
                                          <p:val>
                                            <p:strVal val="#ppt_x"/>
                                          </p:val>
                                        </p:tav>
                                      </p:tavLst>
                                    </p:anim>
                                    <p:anim calcmode="lin" valueType="num">
                                      <p:cBhvr additive="base">
                                        <p:cTn id="32" dur="500" fill="hold"/>
                                        <p:tgtEl>
                                          <p:spTgt spid="4">
                                            <p:graphicEl>
                                              <a:dgm id="{697004BA-36C2-42E0-9D43-3931F0BC4234}"/>
                                            </p:graphic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4">
                                            <p:graphicEl>
                                              <a:dgm id="{5D447A53-68F8-4074-8441-407E9A1C155B}"/>
                                            </p:graphicEl>
                                          </p:spTgt>
                                        </p:tgtEl>
                                        <p:attrNameLst>
                                          <p:attrName>style.visibility</p:attrName>
                                        </p:attrNameLst>
                                      </p:cBhvr>
                                      <p:to>
                                        <p:strVal val="visible"/>
                                      </p:to>
                                    </p:set>
                                    <p:anim calcmode="lin" valueType="num">
                                      <p:cBhvr additive="base">
                                        <p:cTn id="37" dur="500" fill="hold"/>
                                        <p:tgtEl>
                                          <p:spTgt spid="4">
                                            <p:graphicEl>
                                              <a:dgm id="{5D447A53-68F8-4074-8441-407E9A1C155B}"/>
                                            </p:graphicEl>
                                          </p:spTgt>
                                        </p:tgtEl>
                                        <p:attrNameLst>
                                          <p:attrName>ppt_x</p:attrName>
                                        </p:attrNameLst>
                                      </p:cBhvr>
                                      <p:tavLst>
                                        <p:tav tm="0">
                                          <p:val>
                                            <p:strVal val="#ppt_x"/>
                                          </p:val>
                                        </p:tav>
                                        <p:tav tm="100000">
                                          <p:val>
                                            <p:strVal val="#ppt_x"/>
                                          </p:val>
                                        </p:tav>
                                      </p:tavLst>
                                    </p:anim>
                                    <p:anim calcmode="lin" valueType="num">
                                      <p:cBhvr additive="base">
                                        <p:cTn id="38" dur="500" fill="hold"/>
                                        <p:tgtEl>
                                          <p:spTgt spid="4">
                                            <p:graphicEl>
                                              <a:dgm id="{5D447A53-68F8-4074-8441-407E9A1C155B}"/>
                                            </p:graphic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4">
                                            <p:graphicEl>
                                              <a:dgm id="{7D9FFA24-BDB6-430C-A6FA-64F7C15D57E6}"/>
                                            </p:graphicEl>
                                          </p:spTgt>
                                        </p:tgtEl>
                                        <p:attrNameLst>
                                          <p:attrName>style.visibility</p:attrName>
                                        </p:attrNameLst>
                                      </p:cBhvr>
                                      <p:to>
                                        <p:strVal val="visible"/>
                                      </p:to>
                                    </p:set>
                                    <p:anim calcmode="lin" valueType="num">
                                      <p:cBhvr additive="base">
                                        <p:cTn id="43" dur="500" fill="hold"/>
                                        <p:tgtEl>
                                          <p:spTgt spid="4">
                                            <p:graphicEl>
                                              <a:dgm id="{7D9FFA24-BDB6-430C-A6FA-64F7C15D57E6}"/>
                                            </p:graphicEl>
                                          </p:spTgt>
                                        </p:tgtEl>
                                        <p:attrNameLst>
                                          <p:attrName>ppt_x</p:attrName>
                                        </p:attrNameLst>
                                      </p:cBhvr>
                                      <p:tavLst>
                                        <p:tav tm="0">
                                          <p:val>
                                            <p:strVal val="#ppt_x"/>
                                          </p:val>
                                        </p:tav>
                                        <p:tav tm="100000">
                                          <p:val>
                                            <p:strVal val="#ppt_x"/>
                                          </p:val>
                                        </p:tav>
                                      </p:tavLst>
                                    </p:anim>
                                    <p:anim calcmode="lin" valueType="num">
                                      <p:cBhvr additive="base">
                                        <p:cTn id="44" dur="500" fill="hold"/>
                                        <p:tgtEl>
                                          <p:spTgt spid="4">
                                            <p:graphicEl>
                                              <a:dgm id="{7D9FFA24-BDB6-430C-A6FA-64F7C15D57E6}"/>
                                            </p:graphic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4">
                                            <p:graphicEl>
                                              <a:dgm id="{92C7A95B-A37F-49D2-8CE0-DF5D40993B0F}"/>
                                            </p:graphicEl>
                                          </p:spTgt>
                                        </p:tgtEl>
                                        <p:attrNameLst>
                                          <p:attrName>style.visibility</p:attrName>
                                        </p:attrNameLst>
                                      </p:cBhvr>
                                      <p:to>
                                        <p:strVal val="visible"/>
                                      </p:to>
                                    </p:set>
                                    <p:anim calcmode="lin" valueType="num">
                                      <p:cBhvr additive="base">
                                        <p:cTn id="49" dur="500" fill="hold"/>
                                        <p:tgtEl>
                                          <p:spTgt spid="4">
                                            <p:graphicEl>
                                              <a:dgm id="{92C7A95B-A37F-49D2-8CE0-DF5D40993B0F}"/>
                                            </p:graphicEl>
                                          </p:spTgt>
                                        </p:tgtEl>
                                        <p:attrNameLst>
                                          <p:attrName>ppt_x</p:attrName>
                                        </p:attrNameLst>
                                      </p:cBhvr>
                                      <p:tavLst>
                                        <p:tav tm="0">
                                          <p:val>
                                            <p:strVal val="#ppt_x"/>
                                          </p:val>
                                        </p:tav>
                                        <p:tav tm="100000">
                                          <p:val>
                                            <p:strVal val="#ppt_x"/>
                                          </p:val>
                                        </p:tav>
                                      </p:tavLst>
                                    </p:anim>
                                    <p:anim calcmode="lin" valueType="num">
                                      <p:cBhvr additive="base">
                                        <p:cTn id="50" dur="500" fill="hold"/>
                                        <p:tgtEl>
                                          <p:spTgt spid="4">
                                            <p:graphicEl>
                                              <a:dgm id="{92C7A95B-A37F-49D2-8CE0-DF5D40993B0F}"/>
                                            </p:graphicEl>
                                          </p:spTgt>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4">
                                            <p:graphicEl>
                                              <a:dgm id="{4BA03F3D-9D1D-45AD-AB79-0F29DF473182}"/>
                                            </p:graphicEl>
                                          </p:spTgt>
                                        </p:tgtEl>
                                        <p:attrNameLst>
                                          <p:attrName>style.visibility</p:attrName>
                                        </p:attrNameLst>
                                      </p:cBhvr>
                                      <p:to>
                                        <p:strVal val="visible"/>
                                      </p:to>
                                    </p:set>
                                    <p:anim calcmode="lin" valueType="num">
                                      <p:cBhvr additive="base">
                                        <p:cTn id="55" dur="500" fill="hold"/>
                                        <p:tgtEl>
                                          <p:spTgt spid="4">
                                            <p:graphicEl>
                                              <a:dgm id="{4BA03F3D-9D1D-45AD-AB79-0F29DF473182}"/>
                                            </p:graphicEl>
                                          </p:spTgt>
                                        </p:tgtEl>
                                        <p:attrNameLst>
                                          <p:attrName>ppt_x</p:attrName>
                                        </p:attrNameLst>
                                      </p:cBhvr>
                                      <p:tavLst>
                                        <p:tav tm="0">
                                          <p:val>
                                            <p:strVal val="#ppt_x"/>
                                          </p:val>
                                        </p:tav>
                                        <p:tav tm="100000">
                                          <p:val>
                                            <p:strVal val="#ppt_x"/>
                                          </p:val>
                                        </p:tav>
                                      </p:tavLst>
                                    </p:anim>
                                    <p:anim calcmode="lin" valueType="num">
                                      <p:cBhvr additive="base">
                                        <p:cTn id="56" dur="500" fill="hold"/>
                                        <p:tgtEl>
                                          <p:spTgt spid="4">
                                            <p:graphicEl>
                                              <a:dgm id="{4BA03F3D-9D1D-45AD-AB79-0F29DF473182}"/>
                                            </p:graphicEl>
                                          </p:spTgt>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grpId="0" nodeType="clickEffect">
                                  <p:stCondLst>
                                    <p:cond delay="0"/>
                                  </p:stCondLst>
                                  <p:childTnLst>
                                    <p:set>
                                      <p:cBhvr>
                                        <p:cTn id="60" dur="1" fill="hold">
                                          <p:stCondLst>
                                            <p:cond delay="0"/>
                                          </p:stCondLst>
                                        </p:cTn>
                                        <p:tgtEl>
                                          <p:spTgt spid="4">
                                            <p:graphicEl>
                                              <a:dgm id="{C89FEC4E-29F6-41F1-9E66-D053E54703A6}"/>
                                            </p:graphicEl>
                                          </p:spTgt>
                                        </p:tgtEl>
                                        <p:attrNameLst>
                                          <p:attrName>style.visibility</p:attrName>
                                        </p:attrNameLst>
                                      </p:cBhvr>
                                      <p:to>
                                        <p:strVal val="visible"/>
                                      </p:to>
                                    </p:set>
                                    <p:anim calcmode="lin" valueType="num">
                                      <p:cBhvr additive="base">
                                        <p:cTn id="61" dur="500" fill="hold"/>
                                        <p:tgtEl>
                                          <p:spTgt spid="4">
                                            <p:graphicEl>
                                              <a:dgm id="{C89FEC4E-29F6-41F1-9E66-D053E54703A6}"/>
                                            </p:graphicEl>
                                          </p:spTgt>
                                        </p:tgtEl>
                                        <p:attrNameLst>
                                          <p:attrName>ppt_x</p:attrName>
                                        </p:attrNameLst>
                                      </p:cBhvr>
                                      <p:tavLst>
                                        <p:tav tm="0">
                                          <p:val>
                                            <p:strVal val="#ppt_x"/>
                                          </p:val>
                                        </p:tav>
                                        <p:tav tm="100000">
                                          <p:val>
                                            <p:strVal val="#ppt_x"/>
                                          </p:val>
                                        </p:tav>
                                      </p:tavLst>
                                    </p:anim>
                                    <p:anim calcmode="lin" valueType="num">
                                      <p:cBhvr additive="base">
                                        <p:cTn id="62" dur="500" fill="hold"/>
                                        <p:tgtEl>
                                          <p:spTgt spid="4">
                                            <p:graphicEl>
                                              <a:dgm id="{C89FEC4E-29F6-41F1-9E66-D053E54703A6}"/>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2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320" y="630936"/>
            <a:ext cx="3114650" cy="5596826"/>
          </a:xfrm>
        </p:spPr>
        <p:txBody>
          <a:bodyPr/>
          <a:lstStyle/>
          <a:p>
            <a:r>
              <a:rPr lang="en-US" dirty="0"/>
              <a:t>Summary</a:t>
            </a:r>
          </a:p>
        </p:txBody>
      </p:sp>
      <p:sp>
        <p:nvSpPr>
          <p:cNvPr id="7" name="Content Placeholder 6">
            <a:extLst>
              <a:ext uri="{FF2B5EF4-FFF2-40B4-BE49-F238E27FC236}">
                <a16:creationId xmlns:a16="http://schemas.microsoft.com/office/drawing/2014/main" id="{014AB0C6-5EE1-447C-8DEB-379E9F8FA391}"/>
              </a:ext>
            </a:extLst>
          </p:cNvPr>
          <p:cNvSpPr>
            <a:spLocks noGrp="1"/>
          </p:cNvSpPr>
          <p:nvPr>
            <p:ph type="body" sz="quarter" idx="10"/>
          </p:nvPr>
        </p:nvSpPr>
        <p:spPr>
          <a:xfrm>
            <a:off x="5008563" y="630238"/>
            <a:ext cx="6527800" cy="5597525"/>
          </a:xfrm>
        </p:spPr>
        <p:txBody>
          <a:bodyPr/>
          <a:lstStyle/>
          <a:p>
            <a:pPr lvl="0"/>
            <a:r>
              <a:rPr lang="en-US" dirty="0"/>
              <a:t>In this lesson, you learned about:</a:t>
            </a:r>
            <a:endParaRPr lang="nb-NO" dirty="0"/>
          </a:p>
          <a:p>
            <a:pPr lvl="1"/>
            <a:r>
              <a:rPr lang="en-US" dirty="0"/>
              <a:t>Microsoft 365 and SharePoint Administration Centers</a:t>
            </a:r>
            <a:endParaRPr lang="nb-NO" dirty="0"/>
          </a:p>
          <a:p>
            <a:pPr lvl="1"/>
            <a:r>
              <a:rPr lang="en-US" dirty="0"/>
              <a:t>About the default Microsoft Online domain and its purpose</a:t>
            </a:r>
            <a:endParaRPr lang="nb-NO" dirty="0"/>
          </a:p>
          <a:p>
            <a:pPr lvl="1"/>
            <a:r>
              <a:rPr lang="en-US" dirty="0"/>
              <a:t>About incorporating company-owned domains into Microsoft 365</a:t>
            </a:r>
            <a:endParaRPr lang="nb-NO" dirty="0"/>
          </a:p>
          <a:p>
            <a:pPr lvl="1"/>
            <a:r>
              <a:rPr lang="en-US" dirty="0"/>
              <a:t>The differences between the Azure Active Directory module for Windows PowerShell and Remote PowerShell</a:t>
            </a:r>
            <a:endParaRPr lang="nb-NO" dirty="0"/>
          </a:p>
          <a:p>
            <a:endParaRPr lang="en-US" dirty="0"/>
          </a:p>
        </p:txBody>
      </p:sp>
    </p:spTree>
    <p:extLst>
      <p:ext uri="{BB962C8B-B14F-4D97-AF65-F5344CB8AC3E}">
        <p14:creationId xmlns:p14="http://schemas.microsoft.com/office/powerpoint/2010/main" val="2129932686"/>
      </p:ext>
    </p:extLst>
  </p:cSld>
  <p:clrMapOvr>
    <a:masterClrMapping/>
  </p:clrMapOvr>
</p:sld>
</file>

<file path=ppt/slides/slide23.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05590344"/>
      </p:ext>
    </p:extLst>
  </p:cSld>
  <p:clrMapOvr>
    <a:masterClrMapping/>
  </p:clrMapOvr>
</p:sld>
</file>

<file path=ppt/slides/slide4.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erview</a:t>
            </a:r>
            <a:br>
              <a:rPr lang="en-US" dirty="0"/>
            </a:br>
            <a:br>
              <a:rPr lang="en-US" dirty="0"/>
            </a:br>
            <a:r>
              <a:rPr lang="en-US" dirty="0"/>
              <a:t>Microsoft 365 Admin Center</a:t>
            </a:r>
            <a:endParaRPr lang="nb-NO" dirty="0"/>
          </a:p>
        </p:txBody>
      </p:sp>
    </p:spTree>
    <p:extLst>
      <p:ext uri="{BB962C8B-B14F-4D97-AF65-F5344CB8AC3E}">
        <p14:creationId xmlns:p14="http://schemas.microsoft.com/office/powerpoint/2010/main" val="487109994"/>
      </p:ext>
    </p:extLst>
  </p:cSld>
  <p:clrMapOvr>
    <a:masterClrMapping/>
  </p:clrMapOvr>
</p:sld>
</file>

<file path=ppt/slides/slide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93E1F29-D2DB-42F3-81D1-60B421F923EB}"/>
              </a:ext>
            </a:extLst>
          </p:cNvPr>
          <p:cNvSpPr>
            <a:spLocks noGrp="1"/>
          </p:cNvSpPr>
          <p:nvPr>
            <p:ph type="body" sz="quarter" idx="11"/>
          </p:nvPr>
        </p:nvSpPr>
        <p:spPr>
          <a:xfrm>
            <a:off x="5008563" y="630238"/>
            <a:ext cx="6527800" cy="5597524"/>
          </a:xfrm>
        </p:spPr>
        <p:txBody>
          <a:bodyPr/>
          <a:lstStyle/>
          <a:p>
            <a:pPr lvl="0"/>
            <a:r>
              <a:rPr lang="en-US" dirty="0"/>
              <a:t>After completing this lesson, you will be able to:</a:t>
            </a:r>
          </a:p>
          <a:p>
            <a:pPr lvl="2"/>
            <a:r>
              <a:rPr lang="en-US" dirty="0"/>
              <a:t>Understand and explain various management interfaces available to you in Microsoft 365.</a:t>
            </a:r>
          </a:p>
          <a:p>
            <a:pPr lvl="2"/>
            <a:r>
              <a:rPr lang="en-US" dirty="0"/>
              <a:t>Manage service-specific features and settings</a:t>
            </a:r>
          </a:p>
          <a:p>
            <a:pPr lvl="2"/>
            <a:r>
              <a:rPr lang="en-US" dirty="0"/>
              <a:t>Manage various Microsoft 365 services by using the GUI and Windows PowerShell.</a:t>
            </a:r>
          </a:p>
          <a:p>
            <a:endParaRPr lang="en-US" dirty="0"/>
          </a:p>
        </p:txBody>
      </p:sp>
      <p:sp>
        <p:nvSpPr>
          <p:cNvPr id="2" name="Title 1"/>
          <p:cNvSpPr>
            <a:spLocks noGrp="1"/>
          </p:cNvSpPr>
          <p:nvPr>
            <p:ph type="title"/>
          </p:nvPr>
        </p:nvSpPr>
        <p:spPr>
          <a:xfrm>
            <a:off x="655639" y="630238"/>
            <a:ext cx="3152330" cy="5597524"/>
          </a:xfrm>
        </p:spPr>
        <p:txBody>
          <a:bodyPr vert="horz" wrap="square" lIns="0" tIns="0" rIns="0" bIns="0" rtlCol="0" anchor="ctr">
            <a:normAutofit/>
          </a:bodyPr>
          <a:lstStyle/>
          <a:p>
            <a:r>
              <a:rPr lang="en-US"/>
              <a:t>Objectives</a:t>
            </a:r>
          </a:p>
        </p:txBody>
      </p:sp>
      <p:sp>
        <p:nvSpPr>
          <p:cNvPr id="7" name="Rectangle 6">
            <a:extLst>
              <a:ext uri="{FF2B5EF4-FFF2-40B4-BE49-F238E27FC236}">
                <a16:creationId xmlns:a16="http://schemas.microsoft.com/office/drawing/2014/main" id="{0EC00EA8-7A50-48E5-8178-418188E4AA88}"/>
              </a:ext>
            </a:extLst>
          </p:cNvPr>
          <p:cNvSpPr/>
          <p:nvPr/>
        </p:nvSpPr>
        <p:spPr>
          <a:xfrm>
            <a:off x="5008563" y="630238"/>
            <a:ext cx="6527800" cy="5597525"/>
          </a:xfrm>
          <a:prstGeom prst="rect">
            <a:avLst/>
          </a:prstGeom>
        </p:spPr>
        <p:txBody>
          <a:bodyPr vert="horz" lIns="0" tIns="0" rIns="0" bIns="0" rtlCol="0" anchor="ctr" anchorCtr="0">
            <a:normAutofit/>
          </a:bodyPr>
          <a:lstStyle/>
          <a:p>
            <a:pPr marL="457200" lvl="0" indent="-457200" defTabSz="932688">
              <a:spcBef>
                <a:spcPts val="672"/>
              </a:spcBef>
              <a:spcAft>
                <a:spcPts val="1200"/>
              </a:spcAft>
              <a:buClr>
                <a:schemeClr val="tx1"/>
              </a:buClr>
              <a:buSzPct val="90000"/>
              <a:buFont typeface="Arial" panose="020B0604020202020204" pitchFamily="34" charset="0"/>
              <a:buChar char="•"/>
            </a:pPr>
            <a:endParaRPr lang="en-US" sz="2400" dirty="0">
              <a:cs typeface="Segoe UI" panose="020B0502040204020203" pitchFamily="34" charset="0"/>
            </a:endParaRPr>
          </a:p>
        </p:txBody>
      </p:sp>
    </p:spTree>
    <p:extLst>
      <p:ext uri="{BB962C8B-B14F-4D97-AF65-F5344CB8AC3E}">
        <p14:creationId xmlns:p14="http://schemas.microsoft.com/office/powerpoint/2010/main" val="3157026993"/>
      </p:ext>
    </p:extLst>
  </p:cSld>
  <p:clrMapOvr>
    <a:masterClrMapping/>
  </p:clrMapOvr>
</p:sld>
</file>

<file path=ppt/slides/slide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320" y="630936"/>
            <a:ext cx="3114650" cy="5596826"/>
          </a:xfrm>
        </p:spPr>
        <p:txBody>
          <a:bodyPr wrap="square" anchor="ctr">
            <a:normAutofit/>
          </a:bodyPr>
          <a:lstStyle/>
          <a:p>
            <a:r>
              <a:rPr lang="en-US" dirty="0"/>
              <a:t>Microsoft 365 Administration Fundamentals</a:t>
            </a:r>
          </a:p>
        </p:txBody>
      </p:sp>
      <p:sp>
        <p:nvSpPr>
          <p:cNvPr id="11" name="Content Placeholder 10">
            <a:extLst>
              <a:ext uri="{FF2B5EF4-FFF2-40B4-BE49-F238E27FC236}">
                <a16:creationId xmlns:a16="http://schemas.microsoft.com/office/drawing/2014/main" id="{FF7BEAF0-9602-4738-B35A-50A831B8AFFB}"/>
              </a:ext>
            </a:extLst>
          </p:cNvPr>
          <p:cNvSpPr>
            <a:spLocks noGrp="1"/>
          </p:cNvSpPr>
          <p:nvPr>
            <p:ph type="body" sz="quarter" idx="10"/>
          </p:nvPr>
        </p:nvSpPr>
        <p:spPr>
          <a:xfrm>
            <a:off x="5008563" y="630238"/>
            <a:ext cx="6527800" cy="5597525"/>
          </a:xfrm>
        </p:spPr>
        <p:txBody>
          <a:bodyPr anchor="ctr">
            <a:normAutofit/>
          </a:bodyPr>
          <a:lstStyle/>
          <a:p>
            <a:pPr lvl="0"/>
            <a:r>
              <a:rPr lang="nb-NO" dirty="0"/>
              <a:t>There are two possible ways to administer Microsoft 365</a:t>
            </a:r>
          </a:p>
          <a:p>
            <a:pPr lvl="1"/>
            <a:r>
              <a:rPr lang="en-US" dirty="0"/>
              <a:t>Using Management Interfaces</a:t>
            </a:r>
            <a:endParaRPr lang="nb-NO" dirty="0"/>
          </a:p>
          <a:p>
            <a:pPr lvl="1"/>
            <a:r>
              <a:rPr lang="nb-NO" dirty="0"/>
              <a:t>Using Management Shells/APIs</a:t>
            </a:r>
          </a:p>
        </p:txBody>
      </p:sp>
    </p:spTree>
    <p:extLst>
      <p:ext uri="{BB962C8B-B14F-4D97-AF65-F5344CB8AC3E}">
        <p14:creationId xmlns:p14="http://schemas.microsoft.com/office/powerpoint/2010/main" val="279841940"/>
      </p:ext>
    </p:extLst>
  </p:cSld>
  <p:clrMapOvr>
    <a:masterClrMapping/>
  </p:clrMapOvr>
</p:sld>
</file>

<file path=ppt/slides/slide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923330"/>
          </a:xfrm>
        </p:spPr>
        <p:txBody>
          <a:bodyPr/>
          <a:lstStyle/>
          <a:p>
            <a:r>
              <a:rPr lang="en-US" dirty="0"/>
              <a:t>Microsoft 365 Portal: App Launcher</a:t>
            </a:r>
            <a:br>
              <a:rPr lang="en-US" dirty="0"/>
            </a:br>
            <a:endParaRPr lang="en-US" dirty="0"/>
          </a:p>
        </p:txBody>
      </p:sp>
      <p:pic>
        <p:nvPicPr>
          <p:cNvPr id="6" name="Picture 5">
            <a:extLst>
              <a:ext uri="{FF2B5EF4-FFF2-40B4-BE49-F238E27FC236}">
                <a16:creationId xmlns:a16="http://schemas.microsoft.com/office/drawing/2014/main" id="{1A52F820-572C-4BCC-8F60-DFC71D0337FF}"/>
              </a:ext>
            </a:extLst>
          </p:cNvPr>
          <p:cNvPicPr>
            <a:picLocks noChangeAspect="1"/>
          </p:cNvPicPr>
          <p:nvPr/>
        </p:nvPicPr>
        <p:blipFill>
          <a:blip r:embed="rId3"/>
          <a:stretch>
            <a:fillRect/>
          </a:stretch>
        </p:blipFill>
        <p:spPr>
          <a:xfrm>
            <a:off x="1295400" y="1371600"/>
            <a:ext cx="4562475" cy="4782530"/>
          </a:xfrm>
          <a:prstGeom prst="rect">
            <a:avLst/>
          </a:prstGeom>
        </p:spPr>
      </p:pic>
      <p:pic>
        <p:nvPicPr>
          <p:cNvPr id="7" name="Picture 6">
            <a:extLst>
              <a:ext uri="{FF2B5EF4-FFF2-40B4-BE49-F238E27FC236}">
                <a16:creationId xmlns:a16="http://schemas.microsoft.com/office/drawing/2014/main" id="{E1D274C6-1400-4CC5-A1F0-6054F978B82E}"/>
              </a:ext>
            </a:extLst>
          </p:cNvPr>
          <p:cNvPicPr>
            <a:picLocks noChangeAspect="1"/>
          </p:cNvPicPr>
          <p:nvPr/>
        </p:nvPicPr>
        <p:blipFill>
          <a:blip r:embed="rId4"/>
          <a:stretch>
            <a:fillRect/>
          </a:stretch>
        </p:blipFill>
        <p:spPr>
          <a:xfrm>
            <a:off x="7010400" y="1185165"/>
            <a:ext cx="4114800" cy="5056060"/>
          </a:xfrm>
          <a:prstGeom prst="rect">
            <a:avLst/>
          </a:prstGeom>
        </p:spPr>
      </p:pic>
      <p:cxnSp>
        <p:nvCxnSpPr>
          <p:cNvPr id="9" name="Straight Arrow Connector 8">
            <a:extLst>
              <a:ext uri="{FF2B5EF4-FFF2-40B4-BE49-F238E27FC236}">
                <a16:creationId xmlns:a16="http://schemas.microsoft.com/office/drawing/2014/main" id="{AFD686B9-94EB-4464-B980-2506D11A81B0}"/>
              </a:ext>
            </a:extLst>
          </p:cNvPr>
          <p:cNvCxnSpPr>
            <a:cxnSpLocks/>
          </p:cNvCxnSpPr>
          <p:nvPr/>
        </p:nvCxnSpPr>
        <p:spPr>
          <a:xfrm flipV="1">
            <a:off x="2438400" y="4114800"/>
            <a:ext cx="4343400" cy="791065"/>
          </a:xfrm>
          <a:prstGeom prst="straightConnector1">
            <a:avLst/>
          </a:prstGeom>
          <a:ln w="28575">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0681313"/>
      </p:ext>
    </p:extLst>
  </p:cSld>
  <p:clrMapOvr>
    <a:masterClrMapping/>
  </p:clrMapOvr>
</p:sld>
</file>

<file path=ppt/slides/slide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Microsoft 365 Admin Center: Administration View</a:t>
            </a:r>
          </a:p>
        </p:txBody>
      </p:sp>
      <p:sp>
        <p:nvSpPr>
          <p:cNvPr id="3" name="Content Placeholder 2"/>
          <p:cNvSpPr>
            <a:spLocks noGrp="1"/>
          </p:cNvSpPr>
          <p:nvPr>
            <p:ph type="body" sz="quarter" idx="4294967295"/>
          </p:nvPr>
        </p:nvSpPr>
        <p:spPr>
          <a:xfrm>
            <a:off x="0" y="1189038"/>
            <a:ext cx="11652250" cy="1985962"/>
          </a:xfrm>
        </p:spPr>
        <p:txBody>
          <a:bodyPr/>
          <a:lstStyle/>
          <a:p>
            <a:endParaRPr lang="en-US" dirty="0"/>
          </a:p>
          <a:p>
            <a:endParaRPr lang="en-US" dirty="0"/>
          </a:p>
        </p:txBody>
      </p:sp>
      <p:pic>
        <p:nvPicPr>
          <p:cNvPr id="4" name="Picture 3">
            <a:extLst>
              <a:ext uri="{FF2B5EF4-FFF2-40B4-BE49-F238E27FC236}">
                <a16:creationId xmlns:a16="http://schemas.microsoft.com/office/drawing/2014/main" id="{558CB6AE-4E02-457B-8B3A-766C54E0B8A9}"/>
              </a:ext>
            </a:extLst>
          </p:cNvPr>
          <p:cNvPicPr>
            <a:picLocks noChangeAspect="1"/>
          </p:cNvPicPr>
          <p:nvPr/>
        </p:nvPicPr>
        <p:blipFill>
          <a:blip r:embed="rId3"/>
          <a:stretch>
            <a:fillRect/>
          </a:stretch>
        </p:blipFill>
        <p:spPr>
          <a:xfrm>
            <a:off x="1512528" y="1143961"/>
            <a:ext cx="9166944" cy="5424528"/>
          </a:xfrm>
          <a:prstGeom prst="rect">
            <a:avLst/>
          </a:prstGeom>
        </p:spPr>
      </p:pic>
    </p:spTree>
    <p:extLst>
      <p:ext uri="{BB962C8B-B14F-4D97-AF65-F5344CB8AC3E}">
        <p14:creationId xmlns:p14="http://schemas.microsoft.com/office/powerpoint/2010/main" val="2723983755"/>
      </p:ext>
    </p:extLst>
  </p:cSld>
  <p:clrMapOvr>
    <a:masterClrMapping/>
  </p:clrMapOvr>
</p:sld>
</file>

<file path=ppt/slides/slide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1384995"/>
          </a:xfrm>
        </p:spPr>
        <p:txBody>
          <a:bodyPr/>
          <a:lstStyle/>
          <a:p>
            <a:r>
              <a:rPr lang="en-US" dirty="0"/>
              <a:t>Microsoft 365 Portal: End-User View</a:t>
            </a:r>
            <a:br>
              <a:rPr lang="en-US" dirty="0"/>
            </a:br>
            <a:br>
              <a:rPr lang="en-US" dirty="0"/>
            </a:br>
            <a:endParaRPr lang="en-US" dirty="0"/>
          </a:p>
        </p:txBody>
      </p:sp>
      <p:sp>
        <p:nvSpPr>
          <p:cNvPr id="8" name="TextBox 7"/>
          <p:cNvSpPr txBox="1">
            <a:spLocks noChangeAspect="1"/>
          </p:cNvSpPr>
          <p:nvPr/>
        </p:nvSpPr>
        <p:spPr>
          <a:xfrm>
            <a:off x="7645399" y="5519097"/>
            <a:ext cx="2032000" cy="492443"/>
          </a:xfrm>
          <a:prstGeom prst="rect">
            <a:avLst/>
          </a:prstGeom>
          <a:noFill/>
        </p:spPr>
        <p:txBody>
          <a:bodyPr wrap="square" lIns="0" tIns="0" rIns="0" bIns="0" rtlCol="0">
            <a:spAutoFit/>
          </a:bodyPr>
          <a:lstStyle/>
          <a:p>
            <a:pPr algn="ctr" defTabSz="914377">
              <a:defRPr/>
            </a:pPr>
            <a:r>
              <a:rPr lang="en-AU" sz="1600" kern="0" spc="-71" dirty="0">
                <a:solidFill>
                  <a:srgbClr val="EB3C00"/>
                </a:solidFill>
              </a:rPr>
              <a:t>Connects to Office Web Apps</a:t>
            </a:r>
          </a:p>
        </p:txBody>
      </p:sp>
      <p:sp>
        <p:nvSpPr>
          <p:cNvPr id="19" name="TextBox 18"/>
          <p:cNvSpPr txBox="1">
            <a:spLocks noChangeAspect="1"/>
          </p:cNvSpPr>
          <p:nvPr/>
        </p:nvSpPr>
        <p:spPr>
          <a:xfrm>
            <a:off x="152400" y="1236494"/>
            <a:ext cx="2032000" cy="492443"/>
          </a:xfrm>
          <a:prstGeom prst="rect">
            <a:avLst/>
          </a:prstGeom>
          <a:noFill/>
        </p:spPr>
        <p:txBody>
          <a:bodyPr wrap="square" lIns="0" tIns="0" rIns="0" bIns="0" rtlCol="0">
            <a:spAutoFit/>
          </a:bodyPr>
          <a:lstStyle/>
          <a:p>
            <a:pPr algn="ctr" defTabSz="914377">
              <a:defRPr/>
            </a:pPr>
            <a:r>
              <a:rPr lang="en-AU" sz="1600" kern="0" spc="-71" dirty="0">
                <a:solidFill>
                  <a:srgbClr val="EB3C00"/>
                </a:solidFill>
              </a:rPr>
              <a:t>Connects to Outlook on the Web</a:t>
            </a:r>
          </a:p>
        </p:txBody>
      </p:sp>
      <p:pic>
        <p:nvPicPr>
          <p:cNvPr id="3" name="Picture 2">
            <a:extLst>
              <a:ext uri="{FF2B5EF4-FFF2-40B4-BE49-F238E27FC236}">
                <a16:creationId xmlns:a16="http://schemas.microsoft.com/office/drawing/2014/main" id="{DE0C140D-5452-434D-B23B-B078A124B33C}"/>
              </a:ext>
            </a:extLst>
          </p:cNvPr>
          <p:cNvPicPr>
            <a:picLocks noChangeAspect="1"/>
          </p:cNvPicPr>
          <p:nvPr/>
        </p:nvPicPr>
        <p:blipFill>
          <a:blip r:embed="rId3"/>
          <a:stretch>
            <a:fillRect/>
          </a:stretch>
        </p:blipFill>
        <p:spPr>
          <a:xfrm>
            <a:off x="1707832" y="1561688"/>
            <a:ext cx="8610600" cy="3731442"/>
          </a:xfrm>
          <a:prstGeom prst="rect">
            <a:avLst/>
          </a:prstGeom>
        </p:spPr>
      </p:pic>
      <p:sp>
        <p:nvSpPr>
          <p:cNvPr id="13" name="TextBox 12"/>
          <p:cNvSpPr txBox="1">
            <a:spLocks noChangeAspect="1"/>
          </p:cNvSpPr>
          <p:nvPr/>
        </p:nvSpPr>
        <p:spPr>
          <a:xfrm>
            <a:off x="10021455" y="1011686"/>
            <a:ext cx="2032000" cy="492443"/>
          </a:xfrm>
          <a:prstGeom prst="rect">
            <a:avLst/>
          </a:prstGeom>
          <a:noFill/>
        </p:spPr>
        <p:txBody>
          <a:bodyPr wrap="square" lIns="0" tIns="0" rIns="0" bIns="0" rtlCol="0">
            <a:spAutoFit/>
          </a:bodyPr>
          <a:lstStyle/>
          <a:p>
            <a:pPr algn="ctr" defTabSz="914377">
              <a:defRPr/>
            </a:pPr>
            <a:r>
              <a:rPr lang="en-AU" sz="1600" kern="0" spc="-71" dirty="0">
                <a:solidFill>
                  <a:srgbClr val="EB3C00"/>
                </a:solidFill>
              </a:rPr>
              <a:t>Connects to tenant’s SharePoint Home page</a:t>
            </a:r>
          </a:p>
        </p:txBody>
      </p:sp>
      <p:cxnSp>
        <p:nvCxnSpPr>
          <p:cNvPr id="21" name="Straight Arrow Connector 20"/>
          <p:cNvCxnSpPr>
            <a:cxnSpLocks/>
          </p:cNvCxnSpPr>
          <p:nvPr/>
        </p:nvCxnSpPr>
        <p:spPr>
          <a:xfrm flipH="1">
            <a:off x="9829801" y="1561688"/>
            <a:ext cx="1108589" cy="1367647"/>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p:cNvCxnSpPr>
            <a:cxnSpLocks/>
          </p:cNvCxnSpPr>
          <p:nvPr/>
        </p:nvCxnSpPr>
        <p:spPr>
          <a:xfrm flipH="1" flipV="1">
            <a:off x="7162800" y="3427409"/>
            <a:ext cx="1670724" cy="1982792"/>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a:cxnSpLocks/>
          </p:cNvCxnSpPr>
          <p:nvPr/>
        </p:nvCxnSpPr>
        <p:spPr>
          <a:xfrm>
            <a:off x="1253610" y="1825843"/>
            <a:ext cx="1260990" cy="1103492"/>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ED8DCF98-E192-4F20-B72C-41FC022009B5}"/>
              </a:ext>
            </a:extLst>
          </p:cNvPr>
          <p:cNvCxnSpPr>
            <a:cxnSpLocks/>
          </p:cNvCxnSpPr>
          <p:nvPr/>
        </p:nvCxnSpPr>
        <p:spPr>
          <a:xfrm flipV="1">
            <a:off x="3810000" y="3200400"/>
            <a:ext cx="361632" cy="2209801"/>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08CBE92D-8657-4EF7-9B09-0C9C1EC488E4}"/>
              </a:ext>
            </a:extLst>
          </p:cNvPr>
          <p:cNvSpPr txBox="1">
            <a:spLocks noChangeAspect="1"/>
          </p:cNvSpPr>
          <p:nvPr/>
        </p:nvSpPr>
        <p:spPr>
          <a:xfrm>
            <a:off x="3200400" y="5519096"/>
            <a:ext cx="2032000" cy="492443"/>
          </a:xfrm>
          <a:prstGeom prst="rect">
            <a:avLst/>
          </a:prstGeom>
          <a:noFill/>
        </p:spPr>
        <p:txBody>
          <a:bodyPr wrap="square" lIns="0" tIns="0" rIns="0" bIns="0" rtlCol="0">
            <a:spAutoFit/>
          </a:bodyPr>
          <a:lstStyle/>
          <a:p>
            <a:pPr algn="ctr" defTabSz="914377">
              <a:defRPr/>
            </a:pPr>
            <a:r>
              <a:rPr lang="en-AU" sz="1600" kern="0" spc="-71" dirty="0">
                <a:solidFill>
                  <a:srgbClr val="EB3C00"/>
                </a:solidFill>
              </a:rPr>
              <a:t>Connects to OneDrive for Business</a:t>
            </a:r>
          </a:p>
        </p:txBody>
      </p:sp>
    </p:spTree>
    <p:extLst>
      <p:ext uri="{BB962C8B-B14F-4D97-AF65-F5344CB8AC3E}">
        <p14:creationId xmlns:p14="http://schemas.microsoft.com/office/powerpoint/2010/main" val="4259899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hidden"/>
                                      </p:to>
                                    </p:set>
                                  </p:childTnLst>
                                </p:cTn>
                              </p:par>
                              <p:par>
                                <p:cTn id="7" presetID="1" presetClass="entr" presetSubtype="0" fill="hold" grpId="1"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xit"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hidden"/>
                                      </p:to>
                                    </p:set>
                                  </p:childTnLst>
                                </p:cTn>
                              </p:par>
                              <p:par>
                                <p:cTn id="11" presetID="1" presetClass="entr" presetSubtype="0" fill="hold" grpId="1"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xit"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hidden"/>
                                      </p:to>
                                    </p:set>
                                  </p:childTnLst>
                                </p:cTn>
                              </p:par>
                              <p:par>
                                <p:cTn id="15" presetID="1" presetClass="entr" presetSubtype="0" fill="hold" grpId="1"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xit"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hidden"/>
                                      </p:to>
                                    </p:set>
                                  </p:childTnLst>
                                </p:cTn>
                              </p:par>
                              <p:par>
                                <p:cTn id="19" presetID="1" presetClass="entr" presetSubtype="0" fill="hold" grpId="1"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P spid="19" grpId="0"/>
      <p:bldP spid="19" grpId="1"/>
      <p:bldP spid="13" grpId="0"/>
      <p:bldP spid="13" grpId="1"/>
      <p:bldP spid="15" grpId="0"/>
      <p:bldP spid="15" grpId="1"/>
    </p:bldLst>
  </p:timing>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79e94fed-3e47-41f6-9bd1-fd63e71077b5"/>
  <p:tag name="MIO_EKGUID" val="737937aa-7f53-4f22-bd6c-c5fb8f6b2adf"/>
  <p:tag name="MIO_UPDATE" val="True"/>
  <p:tag name="MIO_VERSION" val="27.09.2019 11:12:27"/>
  <p:tag name="MIO_DBID" val="12B0C59E-2253-4124-A5E9-470ADF4CB168"/>
  <p:tag name="MIO_LASTDOWNLOADED" val="30.03.2020 17:36:16"/>
  <p:tag name="MIO_OBJECTNAME" val="M365CO19_ENT_Android_236"/>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79e94fed-3e47-41f6-9bd1-fd63e71077b5"/>
  <p:tag name="MIO_EKGUID" val="737937aa-7f53-4f22-bd6c-c5fb8f6b2adf"/>
  <p:tag name="MIO_UPDATE" val="True"/>
  <p:tag name="MIO_VERSION" val="27.09.2019 11:12:27"/>
  <p:tag name="MIO_DBID" val="12B0C59E-2253-4124-A5E9-470ADF4CB168"/>
  <p:tag name="MIO_LASTDOWNLOADED" val="30.03.2020 17:36:16"/>
  <p:tag name="MIO_OBJECTNAME" val="M365CO19_ENT_Android_236"/>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DBID" val="12B0C59E-2253-4124-A5E9-470ADF4CB168"/>
  <p:tag name="MIO_LASTDOWNLOADED" val="30.09.2019 15:18:05"/>
  <p:tag name="MIO_OBJECTNAME" val="EDU19_HigherEdComputerLab_007"/>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heme/theme1.xml><?xml version="1.0" encoding="utf-8"?>
<a:theme xmlns:a="http://schemas.openxmlformats.org/drawingml/2006/main" name="ASD">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ASD" id="{F0561960-FF48-4500-B8A3-2B8CEEA31705}" vid="{72167933-79A4-449E-82A5-B9D3DE3E190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3804da39-4668-43b0-b740-91cac2435732">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49CF4B3973DE3499364CBABEEB8439F" ma:contentTypeVersion="20" ma:contentTypeDescription="Create a new document." ma:contentTypeScope="" ma:versionID="958c7793e931dcedc4086b527933b297">
  <xsd:schema xmlns:xsd="http://www.w3.org/2001/XMLSchema" xmlns:xs="http://www.w3.org/2001/XMLSchema" xmlns:p="http://schemas.microsoft.com/office/2006/metadata/properties" xmlns:ns1="http://schemas.microsoft.com/sharepoint/v3" xmlns:ns2="3804da39-4668-43b0-b740-91cac2435732" xmlns:ns3="fe98aad2-1487-46eb-a06a-887f57cb5a45" xmlns:ns4="230e9df3-be65-4c73-a93b-d1236ebd677e" targetNamespace="http://schemas.microsoft.com/office/2006/metadata/properties" ma:root="true" ma:fieldsID="2382d0c9829fd20fb48095912bde3ef3" ns1:_="" ns2:_="" ns3:_="" ns4:_="">
    <xsd:import namespace="http://schemas.microsoft.com/sharepoint/v3"/>
    <xsd:import namespace="3804da39-4668-43b0-b740-91cac2435732"/>
    <xsd:import namespace="fe98aad2-1487-46eb-a06a-887f57cb5a45"/>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4:TaxCatchAll" minOccurs="0"/>
                <xsd:element ref="ns1:_ip_UnifiedCompliancePolicyProperties" minOccurs="0"/>
                <xsd:element ref="ns1:_ip_UnifiedCompliancePolicyUIAction" minOccurs="0"/>
                <xsd:element ref="ns2:MediaServiceSearchProperties" minOccurs="0"/>
                <xsd:element ref="ns2:MediaServiceDocTags"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804da39-4668-43b0-b740-91cac24357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DocTags" ma:index="24" nillable="true" ma:displayName="MediaServiceDocTags" ma:hidden="true" ma:internalName="MediaServiceDocTags" ma:readOnly="true">
      <xsd:simpleType>
        <xsd:restriction base="dms:Note"/>
      </xsd:simpleType>
    </xsd:element>
    <xsd:element name="MediaLengthInSeconds" ma:index="25" nillable="true" ma:displayName="MediaLengthInSeconds" ma:hidden="true" ma:internalName="MediaLengthInSeconds" ma:readOnly="true">
      <xsd:simpleType>
        <xsd:restriction base="dms:Unknown"/>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98aad2-1487-46eb-a06a-887f57cb5a4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f33aa8b5-bc81-4d5b-9d81-f0b8a1f9b595}" ma:internalName="TaxCatchAll" ma:showField="CatchAllData" ma:web="fe98aad2-1487-46eb-a06a-887f57cb5a4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1FF55E9-5B34-4BA4-9318-1E3083FEEEBD}">
  <ds:schemaRefs>
    <ds:schemaRef ds:uri="http://schemas.microsoft.com/office/2006/metadata/properties"/>
    <ds:schemaRef ds:uri="http://schemas.microsoft.com/office/infopath/2007/PartnerControls"/>
    <ds:schemaRef ds:uri="http://schemas.microsoft.com/sharepoint/v3"/>
    <ds:schemaRef ds:uri="230e9df3-be65-4c73-a93b-d1236ebd677e"/>
    <ds:schemaRef ds:uri="3804da39-4668-43b0-b740-91cac2435732"/>
  </ds:schemaRefs>
</ds:datastoreItem>
</file>

<file path=customXml/itemProps2.xml><?xml version="1.0" encoding="utf-8"?>
<ds:datastoreItem xmlns:ds="http://schemas.openxmlformats.org/officeDocument/2006/customXml" ds:itemID="{A2CEE323-4B54-4167-B754-6A9837805B02}"/>
</file>

<file path=customXml/itemProps3.xml><?xml version="1.0" encoding="utf-8"?>
<ds:datastoreItem xmlns:ds="http://schemas.openxmlformats.org/officeDocument/2006/customXml" ds:itemID="{6D7F92A8-B853-4D90-9D93-2184CBC0EFD2}">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ASD</Template>
  <TotalTime>0</TotalTime>
  <Words>3040</Words>
  <Application>Microsoft Office PowerPoint</Application>
  <PresentationFormat>Widescreen</PresentationFormat>
  <Paragraphs>309</Paragraphs>
  <Slides>23</Slides>
  <Notes>23</Notes>
  <HiddenSlides>2</HiddenSlides>
  <MMClips>1</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23</vt:i4>
      </vt:variant>
    </vt:vector>
  </HeadingPairs>
  <TitlesOfParts>
    <vt:vector size="34" baseType="lpstr">
      <vt:lpstr>&amp;quot</vt:lpstr>
      <vt:lpstr>Arial</vt:lpstr>
      <vt:lpstr>Calibri</vt:lpstr>
      <vt:lpstr>Calibri Light</vt:lpstr>
      <vt:lpstr>Comic Sans MS</vt:lpstr>
      <vt:lpstr>Consolas</vt:lpstr>
      <vt:lpstr>Segoe UI</vt:lpstr>
      <vt:lpstr>Segoe UI Light</vt:lpstr>
      <vt:lpstr>Segoe UI Semibold</vt:lpstr>
      <vt:lpstr>Wingdings</vt:lpstr>
      <vt:lpstr>ASD</vt:lpstr>
      <vt:lpstr>Microsoft 365 Administration Fundamentals</vt:lpstr>
      <vt:lpstr>PowerPoint Presentation</vt:lpstr>
      <vt:lpstr>Students: How to View This Presentation</vt:lpstr>
      <vt:lpstr>Overview  Microsoft 365 Admin Center</vt:lpstr>
      <vt:lpstr>Objectives</vt:lpstr>
      <vt:lpstr>Microsoft 365 Administration Fundamentals</vt:lpstr>
      <vt:lpstr>Microsoft 365 Portal: App Launcher </vt:lpstr>
      <vt:lpstr>Microsoft 365 Admin Center: Administration View</vt:lpstr>
      <vt:lpstr>Microsoft 365 Portal: End-User View  </vt:lpstr>
      <vt:lpstr>Overview  Microsoft 365 Management Shells</vt:lpstr>
      <vt:lpstr>Windows PowerShell</vt:lpstr>
      <vt:lpstr>Azure Active Directory PowerShell for Graph</vt:lpstr>
      <vt:lpstr>Remote PowerShell for SharePoint Online </vt:lpstr>
      <vt:lpstr>Windows PowerShell Endpoints</vt:lpstr>
      <vt:lpstr>Example: Assigning Licenses</vt:lpstr>
      <vt:lpstr>Understanding Microsoft 365 Domains</vt:lpstr>
      <vt:lpstr>The Microsoft Online Default Routing Domain</vt:lpstr>
      <vt:lpstr>Notes Continued </vt:lpstr>
      <vt:lpstr>Using Your Own Domain in Microsoft 365</vt:lpstr>
      <vt:lpstr>Before Adding Your Domain to Microsoft 365</vt:lpstr>
      <vt:lpstr>Knowledge Check</vt:lpstr>
      <vt:lpstr>Summary</vt:lpstr>
      <vt:lpstr>PowerPoint Presentation</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Office 365 SharePoint Online: Administration and Configuration</dc:title>
  <dc:creator>mip_noreply@microsoft.com</dc:creator>
  <lastModifiedBy>mip_noreply@microsoft.com</lastModifiedBy>
  <revision>1</revision>
  <dcterms:created xsi:type="dcterms:W3CDTF">2021-06-29T07:52:37.0000000Z</dcterms:created>
  <dcterms:modified xsi:type="dcterms:W3CDTF">2023-01-20T21:22:43.0000000Z</dcterms:modified>
  <keywords>20230813.3</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ContentTypeId">
    <vt:lpwstr>0x010100749CF4B3973DE3499364CBABEEB8439F</vt:lpwstr>
  </op:property>
  <op:property fmtid="{D5CDD505-2E9C-101B-9397-08002B2CF9AE}" pid="3" name="MediaServiceImageTags">
    <vt:lpwstr/>
  </op:property>
</op:Properties>
</file>